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presentation.xml" ContentType="application/vnd.openxmlformats-officedocument.presentationml.presentation.main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66.xml" ContentType="application/vnd.openxmlformats-officedocument.presentationml.slide+xml"/>
  <Override PartName="/ppt/slides/slide65.xml" ContentType="application/vnd.openxmlformats-officedocument.presentationml.slide+xml"/>
  <Override PartName="/ppt/slideLayouts/slideLayout156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slideLayouts/slideLayout57.xml" ContentType="application/vnd.openxmlformats-officedocument.presentationml.slideLayout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slideLayouts/slideLayout56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9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Layouts/slideLayout58.xml" ContentType="application/vnd.openxmlformats-officedocument.presentationml.slideLayout+xml"/>
  <Override PartName="/ppt/theme/theme1.xml" ContentType="application/vnd.openxmlformats-officedocument.theme+xml"/>
  <Override PartName="/ppt/charts/colors3.xml" ContentType="application/vnd.ms-office.chartcolorstyle+xml"/>
  <Override PartName="/ppt/charts/style3.xml" ContentType="application/vnd.ms-office.chartstyle+xml"/>
  <Override PartName="/ppt/charts/chart4.xml" ContentType="application/vnd.openxmlformats-officedocument.drawingml.chart+xml"/>
  <Override PartName="/ppt/charts/chart3.xml" ContentType="application/vnd.openxmlformats-officedocument.drawingml.chart+xml"/>
  <Override PartName="/ppt/notesMasters/notesMaster1.xml" ContentType="application/vnd.openxmlformats-officedocument.presentationml.notesMaster+xml"/>
  <Override PartName="/ppt/charts/colors2.xml" ContentType="application/vnd.ms-office.chartcolorstyle+xml"/>
  <Override PartName="/ppt/charts/style2.xml" ContentType="application/vnd.ms-office.chartstyle+xml"/>
  <Override PartName="/ppt/charts/chart2.xml" ContentType="application/vnd.openxmlformats-officedocument.drawingml.chart+xml"/>
  <Override PartName="/ppt/handoutMasters/handoutMaster1.xml" ContentType="application/vnd.openxmlformats-officedocument.presentationml.handoutMaster+xml"/>
  <Override PartName="/ppt/charts/colors1.xml" ContentType="application/vnd.ms-office.chartcolorstyle+xml"/>
  <Override PartName="/ppt/charts/style1.xml" ContentType="application/vnd.ms-office.chartstyle+xml"/>
  <Override PartName="/ppt/charts/chart1.xml" ContentType="application/vnd.openxmlformats-officedocument.drawingml.chart+xml"/>
  <Override PartName="/ppt/commentAuthors.xml" ContentType="application/vnd.openxmlformats-officedocument.presentationml.commentAuthors+xml"/>
  <Override PartName="/ppt/theme/theme11.xml" ContentType="application/vnd.openxmlformats-officedocument.theme+xml"/>
  <Override PartName="/ppt/theme/theme10.xml" ContentType="application/vnd.openxmlformats-officedocument.theme+xml"/>
  <Override PartName="/ppt/theme/theme9.xml" ContentType="application/vnd.openxmlformats-officedocument.theme+xml"/>
  <Override PartName="/ppt/theme/theme8.xml" ContentType="application/vnd.openxmlformats-officedocument.theme+xml"/>
  <Override PartName="/ppt/theme/theme7.xml" ContentType="application/vnd.openxmlformats-officedocument.theme+xml"/>
  <Override PartName="/ppt/theme/theme6.xml" ContentType="application/vnd.openxmlformats-officedocument.theme+xml"/>
  <Override PartName="/ppt/theme/theme5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0.xml" ContentType="application/vnd.openxmlformats-officedocument.presentationml.tags+xml"/>
  <Override PartName="/ppt/tags/tag1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docProps/app.xml" ContentType="application/vnd.openxmlformats-officedocument.extended-propertie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29.xml" ContentType="application/vnd.openxmlformats-officedocument.presentationml.tags+xml"/>
  <Override PartName="/ppt/tags/tag25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5127" r:id="rId1"/>
    <p:sldMasterId id="2147485907" r:id="rId2"/>
    <p:sldMasterId id="2147486153" r:id="rId3"/>
    <p:sldMasterId id="2147486166" r:id="rId4"/>
    <p:sldMasterId id="2147486190" r:id="rId5"/>
    <p:sldMasterId id="2147486209" r:id="rId6"/>
    <p:sldMasterId id="2147486224" r:id="rId7"/>
    <p:sldMasterId id="2147486235" r:id="rId8"/>
    <p:sldMasterId id="2147486253" r:id="rId9"/>
  </p:sldMasterIdLst>
  <p:notesMasterIdLst>
    <p:notesMasterId r:id="rId83"/>
  </p:notesMasterIdLst>
  <p:handoutMasterIdLst>
    <p:handoutMasterId r:id="rId84"/>
  </p:handoutMasterIdLst>
  <p:sldIdLst>
    <p:sldId id="269" r:id="rId10"/>
    <p:sldId id="2147483644" r:id="rId11"/>
    <p:sldId id="2147472026" r:id="rId12"/>
    <p:sldId id="263" r:id="rId13"/>
    <p:sldId id="270" r:id="rId14"/>
    <p:sldId id="2147480704" r:id="rId15"/>
    <p:sldId id="2147483467" r:id="rId16"/>
    <p:sldId id="260" r:id="rId17"/>
    <p:sldId id="2147483647" r:id="rId18"/>
    <p:sldId id="256" r:id="rId19"/>
    <p:sldId id="257" r:id="rId20"/>
    <p:sldId id="2147483645" r:id="rId21"/>
    <p:sldId id="2147483643" r:id="rId22"/>
    <p:sldId id="2147480181" r:id="rId23"/>
    <p:sldId id="2147480180" r:id="rId24"/>
    <p:sldId id="2147480182" r:id="rId25"/>
    <p:sldId id="2147480183" r:id="rId26"/>
    <p:sldId id="2147480184" r:id="rId27"/>
    <p:sldId id="2147480185" r:id="rId28"/>
    <p:sldId id="258" r:id="rId29"/>
    <p:sldId id="1351" r:id="rId30"/>
    <p:sldId id="1361" r:id="rId31"/>
    <p:sldId id="288" r:id="rId32"/>
    <p:sldId id="267" r:id="rId33"/>
    <p:sldId id="287" r:id="rId34"/>
    <p:sldId id="310" r:id="rId35"/>
    <p:sldId id="328" r:id="rId36"/>
    <p:sldId id="309" r:id="rId37"/>
    <p:sldId id="311" r:id="rId38"/>
    <p:sldId id="312" r:id="rId39"/>
    <p:sldId id="321" r:id="rId40"/>
    <p:sldId id="313" r:id="rId41"/>
    <p:sldId id="259" r:id="rId42"/>
    <p:sldId id="271" r:id="rId43"/>
    <p:sldId id="272" r:id="rId44"/>
    <p:sldId id="274" r:id="rId45"/>
    <p:sldId id="277" r:id="rId46"/>
    <p:sldId id="278" r:id="rId47"/>
    <p:sldId id="279" r:id="rId48"/>
    <p:sldId id="280" r:id="rId49"/>
    <p:sldId id="282" r:id="rId50"/>
    <p:sldId id="283" r:id="rId51"/>
    <p:sldId id="284" r:id="rId52"/>
    <p:sldId id="285" r:id="rId53"/>
    <p:sldId id="314" r:id="rId54"/>
    <p:sldId id="315" r:id="rId55"/>
    <p:sldId id="316" r:id="rId56"/>
    <p:sldId id="273" r:id="rId57"/>
    <p:sldId id="266" r:id="rId58"/>
    <p:sldId id="275" r:id="rId59"/>
    <p:sldId id="262" r:id="rId60"/>
    <p:sldId id="303" r:id="rId61"/>
    <p:sldId id="304" r:id="rId62"/>
    <p:sldId id="305" r:id="rId63"/>
    <p:sldId id="306" r:id="rId64"/>
    <p:sldId id="324" r:id="rId65"/>
    <p:sldId id="317" r:id="rId66"/>
    <p:sldId id="318" r:id="rId67"/>
    <p:sldId id="264" r:id="rId68"/>
    <p:sldId id="293" r:id="rId69"/>
    <p:sldId id="294" r:id="rId70"/>
    <p:sldId id="295" r:id="rId71"/>
    <p:sldId id="296" r:id="rId72"/>
    <p:sldId id="298" r:id="rId73"/>
    <p:sldId id="319" r:id="rId74"/>
    <p:sldId id="320" r:id="rId75"/>
    <p:sldId id="322" r:id="rId76"/>
    <p:sldId id="323" r:id="rId77"/>
    <p:sldId id="325" r:id="rId78"/>
    <p:sldId id="265" r:id="rId79"/>
    <p:sldId id="1369" r:id="rId80"/>
    <p:sldId id="1370" r:id="rId81"/>
    <p:sldId id="327" r:id="rId82"/>
  </p:sldIdLst>
  <p:sldSz cx="12192000" cy="6858000"/>
  <p:notesSz cx="7772400" cy="10058400"/>
  <p:custDataLst>
    <p:tags r:id="rId85"/>
  </p:custDataLst>
  <p:defaultTextStyle>
    <a:defPPr>
      <a:defRPr lang="en-GB"/>
    </a:defPPr>
    <a:lvl1pPr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1pPr>
    <a:lvl2pPr marL="430213" indent="-214313"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2pPr>
    <a:lvl3pPr marL="646113" indent="-214313"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3pPr>
    <a:lvl4pPr marL="862013" indent="-214313"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4pPr>
    <a:lvl5pPr marL="1077913" indent="-214313"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5pPr>
    <a:lvl6pPr marL="2286000" algn="l" defTabSz="457200" rtl="0" eaLnBrk="1" latinLnBrk="0" hangingPunct="1"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6pPr>
    <a:lvl7pPr marL="2743200" algn="l" defTabSz="457200" rtl="0" eaLnBrk="1" latinLnBrk="0" hangingPunct="1"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7pPr>
    <a:lvl8pPr marL="3200400" algn="l" defTabSz="457200" rtl="0" eaLnBrk="1" latinLnBrk="0" hangingPunct="1"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8pPr>
    <a:lvl9pPr marL="3657600" algn="l" defTabSz="457200" rtl="0" eaLnBrk="1" latinLnBrk="0" hangingPunct="1"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08" userDrawn="1">
          <p15:clr>
            <a:srgbClr val="A4A3A4"/>
          </p15:clr>
        </p15:guide>
        <p15:guide id="2" pos="3719" userDrawn="1">
          <p15:clr>
            <a:srgbClr val="A4A3A4"/>
          </p15:clr>
        </p15:guide>
        <p15:guide id="3" pos="211" userDrawn="1">
          <p15:clr>
            <a:srgbClr val="A4A3A4"/>
          </p15:clr>
        </p15:guide>
        <p15:guide id="4" pos="6208" userDrawn="1">
          <p15:clr>
            <a:srgbClr val="A4A3A4"/>
          </p15:clr>
        </p15:guide>
        <p15:guide id="5" pos="3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ick Kaderman" initials="" lastIdx="0" clrIdx="0"/>
  <p:cmAuthor id="1" name="Porter, David" initials="DP" lastIdx="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loop="1" showNarration="1">
    <p:browse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E4EF"/>
    <a:srgbClr val="FF9300"/>
    <a:srgbClr val="FF40FF"/>
    <a:srgbClr val="F0F0F0"/>
    <a:srgbClr val="3233FF"/>
    <a:srgbClr val="002456"/>
    <a:srgbClr val="226F72"/>
    <a:srgbClr val="002457"/>
    <a:srgbClr val="012556"/>
    <a:srgbClr val="D5E3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464" autoAdjust="0"/>
    <p:restoredTop sz="94795" autoAdjust="0"/>
  </p:normalViewPr>
  <p:slideViewPr>
    <p:cSldViewPr>
      <p:cViewPr varScale="1">
        <p:scale>
          <a:sx n="112" d="100"/>
          <a:sy n="112" d="100"/>
        </p:scale>
        <p:origin x="200" y="272"/>
      </p:cViewPr>
      <p:guideLst>
        <p:guide orient="horz" pos="4208"/>
        <p:guide pos="3719"/>
        <p:guide pos="211"/>
        <p:guide pos="6208"/>
        <p:guide pos="332"/>
      </p:guideLst>
    </p:cSldViewPr>
  </p:slideViewPr>
  <p:outlineViewPr>
    <p:cViewPr varScale="1">
      <p:scale>
        <a:sx n="170" d="200"/>
        <a:sy n="170" d="200"/>
      </p:scale>
      <p:origin x="0" y="-14991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3" d="100"/>
        <a:sy n="133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3856" y="1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63" Type="http://schemas.openxmlformats.org/officeDocument/2006/relationships/slide" Target="slides/slide54.xml"/><Relationship Id="rId68" Type="http://schemas.openxmlformats.org/officeDocument/2006/relationships/slide" Target="slides/slide59.xml"/><Relationship Id="rId84" Type="http://schemas.openxmlformats.org/officeDocument/2006/relationships/handoutMaster" Target="handoutMasters/handoutMaster1.xml"/><Relationship Id="rId89" Type="http://schemas.openxmlformats.org/officeDocument/2006/relationships/theme" Target="theme/theme1.xml"/><Relationship Id="rId16" Type="http://schemas.openxmlformats.org/officeDocument/2006/relationships/slide" Target="slides/slide7.xml"/><Relationship Id="rId11" Type="http://schemas.openxmlformats.org/officeDocument/2006/relationships/slide" Target="slides/slide2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53" Type="http://schemas.openxmlformats.org/officeDocument/2006/relationships/slide" Target="slides/slide44.xml"/><Relationship Id="rId58" Type="http://schemas.openxmlformats.org/officeDocument/2006/relationships/slide" Target="slides/slide49.xml"/><Relationship Id="rId74" Type="http://schemas.openxmlformats.org/officeDocument/2006/relationships/slide" Target="slides/slide65.xml"/><Relationship Id="rId79" Type="http://schemas.openxmlformats.org/officeDocument/2006/relationships/slide" Target="slides/slide70.xml"/><Relationship Id="rId5" Type="http://schemas.openxmlformats.org/officeDocument/2006/relationships/slideMaster" Target="slideMasters/slideMaster5.xml"/><Relationship Id="rId90" Type="http://schemas.openxmlformats.org/officeDocument/2006/relationships/tableStyles" Target="tableStyles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64" Type="http://schemas.openxmlformats.org/officeDocument/2006/relationships/slide" Target="slides/slide55.xml"/><Relationship Id="rId69" Type="http://schemas.openxmlformats.org/officeDocument/2006/relationships/slide" Target="slides/slide60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2.xml"/><Relationship Id="rId72" Type="http://schemas.openxmlformats.org/officeDocument/2006/relationships/slide" Target="slides/slide63.xml"/><Relationship Id="rId80" Type="http://schemas.openxmlformats.org/officeDocument/2006/relationships/slide" Target="slides/slide71.xml"/><Relationship Id="rId85" Type="http://schemas.openxmlformats.org/officeDocument/2006/relationships/tags" Target="tags/tag1.xml"/><Relationship Id="rId93" Type="http://schemas.openxmlformats.org/officeDocument/2006/relationships/customXml" Target="../customXml/item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slide" Target="slides/slide50.xml"/><Relationship Id="rId67" Type="http://schemas.openxmlformats.org/officeDocument/2006/relationships/slide" Target="slides/slide58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slide" Target="slides/slide45.xml"/><Relationship Id="rId62" Type="http://schemas.openxmlformats.org/officeDocument/2006/relationships/slide" Target="slides/slide53.xml"/><Relationship Id="rId70" Type="http://schemas.openxmlformats.org/officeDocument/2006/relationships/slide" Target="slides/slide61.xml"/><Relationship Id="rId75" Type="http://schemas.openxmlformats.org/officeDocument/2006/relationships/slide" Target="slides/slide66.xml"/><Relationship Id="rId83" Type="http://schemas.openxmlformats.org/officeDocument/2006/relationships/notesMaster" Target="notesMasters/notesMaster1.xml"/><Relationship Id="rId88" Type="http://schemas.openxmlformats.org/officeDocument/2006/relationships/viewProps" Target="viewProps.xml"/><Relationship Id="rId91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slide" Target="slides/slide48.xml"/><Relationship Id="rId10" Type="http://schemas.openxmlformats.org/officeDocument/2006/relationships/slide" Target="slides/slide1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60" Type="http://schemas.openxmlformats.org/officeDocument/2006/relationships/slide" Target="slides/slide51.xml"/><Relationship Id="rId65" Type="http://schemas.openxmlformats.org/officeDocument/2006/relationships/slide" Target="slides/slide56.xml"/><Relationship Id="rId73" Type="http://schemas.openxmlformats.org/officeDocument/2006/relationships/slide" Target="slides/slide64.xml"/><Relationship Id="rId78" Type="http://schemas.openxmlformats.org/officeDocument/2006/relationships/slide" Target="slides/slide69.xml"/><Relationship Id="rId81" Type="http://schemas.openxmlformats.org/officeDocument/2006/relationships/slide" Target="slides/slide72.xml"/><Relationship Id="rId86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9" Type="http://schemas.openxmlformats.org/officeDocument/2006/relationships/slide" Target="slides/slide30.xml"/><Relationship Id="rId34" Type="http://schemas.openxmlformats.org/officeDocument/2006/relationships/slide" Target="slides/slide25.xml"/><Relationship Id="rId50" Type="http://schemas.openxmlformats.org/officeDocument/2006/relationships/slide" Target="slides/slide41.xml"/><Relationship Id="rId55" Type="http://schemas.openxmlformats.org/officeDocument/2006/relationships/slide" Target="slides/slide46.xml"/><Relationship Id="rId76" Type="http://schemas.openxmlformats.org/officeDocument/2006/relationships/slide" Target="slides/slide67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2.xml"/><Relationship Id="rId92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0.xml"/><Relationship Id="rId24" Type="http://schemas.openxmlformats.org/officeDocument/2006/relationships/slide" Target="slides/slide15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66" Type="http://schemas.openxmlformats.org/officeDocument/2006/relationships/slide" Target="slides/slide57.xml"/><Relationship Id="rId87" Type="http://schemas.openxmlformats.org/officeDocument/2006/relationships/presProps" Target="presProps.xml"/><Relationship Id="rId61" Type="http://schemas.openxmlformats.org/officeDocument/2006/relationships/slide" Target="slides/slide52.xml"/><Relationship Id="rId82" Type="http://schemas.openxmlformats.org/officeDocument/2006/relationships/slide" Target="slides/slide73.xml"/><Relationship Id="rId19" Type="http://schemas.openxmlformats.org/officeDocument/2006/relationships/slide" Target="slides/slide10.xml"/><Relationship Id="rId14" Type="http://schemas.openxmlformats.org/officeDocument/2006/relationships/slide" Target="slides/slide5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56" Type="http://schemas.openxmlformats.org/officeDocument/2006/relationships/slide" Target="slides/slide47.xml"/><Relationship Id="rId77" Type="http://schemas.openxmlformats.org/officeDocument/2006/relationships/slide" Target="slides/slide6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EgnyteDrive\fishawack\Shared\Medical\Clients\GSK\Oncology\Belantamab%20Mafodotin\Publications\03.%20Congresses\ASH%202024\Posters\49503%20DREAMM-9%20update-%20oral\Editorial\Figures%20for%20presentationASH%20D9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905317310993676E-2"/>
          <c:y val="2.7392530303116985E-2"/>
          <c:w val="0.9044065000195608"/>
          <c:h val="0.81766308946462296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A$5</c:f>
              <c:strCache>
                <c:ptCount val="1"/>
                <c:pt idx="0">
                  <c:v>sCR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I$1</c:f>
              <c:strCache>
                <c:ptCount val="8"/>
                <c:pt idx="0">
                  <c:v>1.9 mg/kg Q3/4W</c:v>
                </c:pt>
                <c:pt idx="1">
                  <c:v>1.9 mg/kg Q6/8W </c:v>
                </c:pt>
                <c:pt idx="2">
                  <c:v>1.4 mg/kg Q3/4W</c:v>
                </c:pt>
                <c:pt idx="3">
                  <c:v>1.4 mg/kg Q6/8W</c:v>
                </c:pt>
                <c:pt idx="4">
                  <c:v>1.9 (9W) to 1.4 mg/kg Q9/12W</c:v>
                </c:pt>
                <c:pt idx="5">
                  <c:v>1.0 mg/kg Q3/4W</c:v>
                </c:pt>
                <c:pt idx="6">
                  <c:v>1.4 (9W) to 1.0 mg/kg Q9/12W</c:v>
                </c:pt>
                <c:pt idx="7">
                  <c:v>1.0 mg/kg Q12W</c:v>
                </c:pt>
              </c:strCache>
            </c:strRef>
          </c:cat>
          <c:val>
            <c:numRef>
              <c:f>Sheet1!$B$5:$I$5</c:f>
              <c:numCache>
                <c:formatCode>General</c:formatCode>
                <c:ptCount val="8"/>
                <c:pt idx="0">
                  <c:v>50</c:v>
                </c:pt>
                <c:pt idx="1">
                  <c:v>33</c:v>
                </c:pt>
                <c:pt idx="2">
                  <c:v>15</c:v>
                </c:pt>
                <c:pt idx="3">
                  <c:v>27</c:v>
                </c:pt>
                <c:pt idx="4">
                  <c:v>29</c:v>
                </c:pt>
                <c:pt idx="5">
                  <c:v>36</c:v>
                </c:pt>
                <c:pt idx="6">
                  <c:v>47</c:v>
                </c:pt>
                <c:pt idx="7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33D-4072-A8E5-A92C96F30018}"/>
            </c:ext>
          </c:extLst>
        </c:ser>
        <c:ser>
          <c:idx val="2"/>
          <c:order val="1"/>
          <c:tx>
            <c:strRef>
              <c:f>Sheet1!$A$4</c:f>
              <c:strCache>
                <c:ptCount val="1"/>
                <c:pt idx="0">
                  <c:v>CR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accent5"/>
              </a:solidFill>
            </a:ln>
            <a:effectLst/>
          </c:spPr>
          <c:invertIfNegative val="0"/>
          <c:dLbls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33D-4072-A8E5-A92C96F3001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I$1</c:f>
              <c:strCache>
                <c:ptCount val="8"/>
                <c:pt idx="0">
                  <c:v>1.9 mg/kg Q3/4W</c:v>
                </c:pt>
                <c:pt idx="1">
                  <c:v>1.9 mg/kg Q6/8W </c:v>
                </c:pt>
                <c:pt idx="2">
                  <c:v>1.4 mg/kg Q3/4W</c:v>
                </c:pt>
                <c:pt idx="3">
                  <c:v>1.4 mg/kg Q6/8W</c:v>
                </c:pt>
                <c:pt idx="4">
                  <c:v>1.9 (9W) to 1.4 mg/kg Q9/12W</c:v>
                </c:pt>
                <c:pt idx="5">
                  <c:v>1.0 mg/kg Q3/4W</c:v>
                </c:pt>
                <c:pt idx="6">
                  <c:v>1.4 (9W) to 1.0 mg/kg Q9/12W</c:v>
                </c:pt>
                <c:pt idx="7">
                  <c:v>1.0 mg/kg Q12W</c:v>
                </c:pt>
              </c:strCache>
            </c:strRef>
          </c:cat>
          <c:val>
            <c:numRef>
              <c:f>Sheet1!$B$4:$I$4</c:f>
              <c:numCache>
                <c:formatCode>General</c:formatCode>
                <c:ptCount val="8"/>
                <c:pt idx="0">
                  <c:v>25</c:v>
                </c:pt>
                <c:pt idx="1">
                  <c:v>58</c:v>
                </c:pt>
                <c:pt idx="2">
                  <c:v>46</c:v>
                </c:pt>
                <c:pt idx="3">
                  <c:v>64</c:v>
                </c:pt>
                <c:pt idx="4">
                  <c:v>12</c:v>
                </c:pt>
                <c:pt idx="5">
                  <c:v>36</c:v>
                </c:pt>
                <c:pt idx="6">
                  <c:v>7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33D-4072-A8E5-A92C96F30018}"/>
            </c:ext>
          </c:extLst>
        </c:ser>
        <c:ser>
          <c:idx val="1"/>
          <c:order val="2"/>
          <c:tx>
            <c:strRef>
              <c:f>Sheet1!$A$3</c:f>
              <c:strCache>
                <c:ptCount val="1"/>
                <c:pt idx="0">
                  <c:v>VGPR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I$1</c:f>
              <c:strCache>
                <c:ptCount val="8"/>
                <c:pt idx="0">
                  <c:v>1.9 mg/kg Q3/4W</c:v>
                </c:pt>
                <c:pt idx="1">
                  <c:v>1.9 mg/kg Q6/8W </c:v>
                </c:pt>
                <c:pt idx="2">
                  <c:v>1.4 mg/kg Q3/4W</c:v>
                </c:pt>
                <c:pt idx="3">
                  <c:v>1.4 mg/kg Q6/8W</c:v>
                </c:pt>
                <c:pt idx="4">
                  <c:v>1.9 (9W) to 1.4 mg/kg Q9/12W</c:v>
                </c:pt>
                <c:pt idx="5">
                  <c:v>1.0 mg/kg Q3/4W</c:v>
                </c:pt>
                <c:pt idx="6">
                  <c:v>1.4 (9W) to 1.0 mg/kg Q9/12W</c:v>
                </c:pt>
                <c:pt idx="7">
                  <c:v>1.0 mg/kg Q12W</c:v>
                </c:pt>
              </c:strCache>
            </c:strRef>
          </c:cat>
          <c:val>
            <c:numRef>
              <c:f>Sheet1!$B$3:$I$3</c:f>
              <c:numCache>
                <c:formatCode>General</c:formatCode>
                <c:ptCount val="8"/>
                <c:pt idx="0">
                  <c:v>17</c:v>
                </c:pt>
                <c:pt idx="1">
                  <c:v>9</c:v>
                </c:pt>
                <c:pt idx="2">
                  <c:v>31</c:v>
                </c:pt>
                <c:pt idx="3">
                  <c:v>9</c:v>
                </c:pt>
                <c:pt idx="4">
                  <c:v>18</c:v>
                </c:pt>
                <c:pt idx="5">
                  <c:v>7</c:v>
                </c:pt>
                <c:pt idx="6">
                  <c:v>20</c:v>
                </c:pt>
                <c:pt idx="7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3D-4072-A8E5-A92C96F30018}"/>
            </c:ext>
          </c:extLst>
        </c:ser>
        <c:ser>
          <c:idx val="0"/>
          <c:order val="3"/>
          <c:tx>
            <c:strRef>
              <c:f>Sheet1!$A$2</c:f>
              <c:strCache>
                <c:ptCount val="1"/>
                <c:pt idx="0">
                  <c:v>PR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33D-4072-A8E5-A92C96F3001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33D-4072-A8E5-A92C96F3001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33D-4072-A8E5-A92C96F30018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33D-4072-A8E5-A92C96F3001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I$1</c:f>
              <c:strCache>
                <c:ptCount val="8"/>
                <c:pt idx="0">
                  <c:v>1.9 mg/kg Q3/4W</c:v>
                </c:pt>
                <c:pt idx="1">
                  <c:v>1.9 mg/kg Q6/8W </c:v>
                </c:pt>
                <c:pt idx="2">
                  <c:v>1.4 mg/kg Q3/4W</c:v>
                </c:pt>
                <c:pt idx="3">
                  <c:v>1.4 mg/kg Q6/8W</c:v>
                </c:pt>
                <c:pt idx="4">
                  <c:v>1.9 (9W) to 1.4 mg/kg Q9/12W</c:v>
                </c:pt>
                <c:pt idx="5">
                  <c:v>1.0 mg/kg Q3/4W</c:v>
                </c:pt>
                <c:pt idx="6">
                  <c:v>1.4 (9W) to 1.0 mg/kg Q9/12W</c:v>
                </c:pt>
                <c:pt idx="7">
                  <c:v>1.0 mg/kg Q12W</c:v>
                </c:pt>
              </c:strCache>
            </c:strRef>
          </c:cat>
          <c:val>
            <c:numRef>
              <c:f>Sheet1!$B$2:$I$2</c:f>
              <c:numCache>
                <c:formatCode>General</c:formatCode>
                <c:ptCount val="8"/>
                <c:pt idx="0">
                  <c:v>8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2</c:v>
                </c:pt>
                <c:pt idx="5">
                  <c:v>7</c:v>
                </c:pt>
                <c:pt idx="6">
                  <c:v>13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3D-4072-A8E5-A92C96F3001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386854560"/>
        <c:axId val="376474000"/>
      </c:barChart>
      <c:catAx>
        <c:axId val="386854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6474000"/>
        <c:crosses val="autoZero"/>
        <c:auto val="1"/>
        <c:lblAlgn val="ctr"/>
        <c:lblOffset val="100"/>
        <c:noMultiLvlLbl val="0"/>
      </c:catAx>
      <c:valAx>
        <c:axId val="376474000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200" b="1">
                    <a:solidFill>
                      <a:schemeClr val="tx1"/>
                    </a:solidFill>
                  </a:rPr>
                  <a:t>Proportion of patients, %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6854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707796732079634E-2"/>
          <c:y val="5.9023836549375708E-2"/>
          <c:w val="0.77008158116971692"/>
          <c:h val="0.669068979067783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CR+ with MRD'!$A$4</c:f>
              <c:strCache>
                <c:ptCount val="1"/>
                <c:pt idx="0">
                  <c:v>CR+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R+ with MRD'!$B$3:$I$3</c:f>
              <c:strCache>
                <c:ptCount val="8"/>
                <c:pt idx="0">
                  <c:v>1.9 mg/kg Q3/4W</c:v>
                </c:pt>
                <c:pt idx="1">
                  <c:v>1.9 mg/kg Q6/8W </c:v>
                </c:pt>
                <c:pt idx="2">
                  <c:v>1.4 mg/kg Q3/4W</c:v>
                </c:pt>
                <c:pt idx="3">
                  <c:v>1.4 mg/kg Q6/8W</c:v>
                </c:pt>
                <c:pt idx="4">
                  <c:v>1.9 (9W) to 1.4 mg/kg Q9/12W</c:v>
                </c:pt>
                <c:pt idx="5">
                  <c:v>1.0 mg/kg Q3/4W</c:v>
                </c:pt>
                <c:pt idx="6">
                  <c:v>1.4 (9W) to 1.0 mg/kg Q9/12W</c:v>
                </c:pt>
                <c:pt idx="7">
                  <c:v>1.0 mg/kg Q12W</c:v>
                </c:pt>
              </c:strCache>
            </c:strRef>
          </c:cat>
          <c:val>
            <c:numRef>
              <c:f>'CR+ with MRD'!$B$4:$I$4</c:f>
              <c:numCache>
                <c:formatCode>General</c:formatCode>
                <c:ptCount val="8"/>
                <c:pt idx="0">
                  <c:v>75</c:v>
                </c:pt>
                <c:pt idx="1">
                  <c:v>92</c:v>
                </c:pt>
                <c:pt idx="2">
                  <c:v>62</c:v>
                </c:pt>
                <c:pt idx="3">
                  <c:v>91</c:v>
                </c:pt>
                <c:pt idx="4">
                  <c:v>41</c:v>
                </c:pt>
                <c:pt idx="5">
                  <c:v>71</c:v>
                </c:pt>
                <c:pt idx="6">
                  <c:v>53</c:v>
                </c:pt>
                <c:pt idx="7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49-4E02-A6AE-C45FD362B4B2}"/>
            </c:ext>
          </c:extLst>
        </c:ser>
        <c:ser>
          <c:idx val="2"/>
          <c:order val="2"/>
          <c:tx>
            <c:strRef>
              <c:f>'CR+ with MRD'!$A$6</c:f>
              <c:strCache>
                <c:ptCount val="1"/>
                <c:pt idx="0">
                  <c:v>MRD[-]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accent5"/>
              </a:solidFill>
            </a:ln>
            <a:effectLst/>
          </c:spPr>
          <c:invertIfNegative val="0"/>
          <c:dLbls>
            <c:spPr>
              <a:noFill/>
              <a:ln>
                <a:solidFill>
                  <a:schemeClr val="tx2"/>
                </a:solidFill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R+ with MRD'!$B$3:$I$3</c:f>
              <c:strCache>
                <c:ptCount val="8"/>
                <c:pt idx="0">
                  <c:v>1.9 mg/kg Q3/4W</c:v>
                </c:pt>
                <c:pt idx="1">
                  <c:v>1.9 mg/kg Q6/8W </c:v>
                </c:pt>
                <c:pt idx="2">
                  <c:v>1.4 mg/kg Q3/4W</c:v>
                </c:pt>
                <c:pt idx="3">
                  <c:v>1.4 mg/kg Q6/8W</c:v>
                </c:pt>
                <c:pt idx="4">
                  <c:v>1.9 (9W) to 1.4 mg/kg Q9/12W</c:v>
                </c:pt>
                <c:pt idx="5">
                  <c:v>1.0 mg/kg Q3/4W</c:v>
                </c:pt>
                <c:pt idx="6">
                  <c:v>1.4 (9W) to 1.0 mg/kg Q9/12W</c:v>
                </c:pt>
                <c:pt idx="7">
                  <c:v>1.0 mg/kg Q12W</c:v>
                </c:pt>
              </c:strCache>
            </c:strRef>
          </c:cat>
          <c:val>
            <c:numRef>
              <c:f>'CR+ with MRD'!$B$6:$I$6</c:f>
              <c:numCache>
                <c:formatCode>General</c:formatCode>
                <c:ptCount val="8"/>
                <c:pt idx="0">
                  <c:v>75</c:v>
                </c:pt>
                <c:pt idx="1">
                  <c:v>67</c:v>
                </c:pt>
                <c:pt idx="2">
                  <c:v>54</c:v>
                </c:pt>
                <c:pt idx="3">
                  <c:v>45</c:v>
                </c:pt>
                <c:pt idx="4">
                  <c:v>29</c:v>
                </c:pt>
                <c:pt idx="5">
                  <c:v>43</c:v>
                </c:pt>
                <c:pt idx="6">
                  <c:v>27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49-4E02-A6AE-C45FD362B4B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85428832"/>
        <c:axId val="324645776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'CR+ with MRD'!$A$5</c15:sqref>
                        </c15:formulaRef>
                      </c:ext>
                    </c:extLst>
                    <c:strCache>
                      <c:ptCount val="1"/>
                      <c:pt idx="0">
                        <c:v>MRD[-]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4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'CR+ with MRD'!$B$3:$I$3</c15:sqref>
                        </c15:formulaRef>
                      </c:ext>
                    </c:extLst>
                    <c:strCache>
                      <c:ptCount val="8"/>
                      <c:pt idx="0">
                        <c:v>1.9 mg/kg Q3/4W</c:v>
                      </c:pt>
                      <c:pt idx="1">
                        <c:v>1.9 mg/kg Q6/8W </c:v>
                      </c:pt>
                      <c:pt idx="2">
                        <c:v>1.4 mg/kg Q3/4W</c:v>
                      </c:pt>
                      <c:pt idx="3">
                        <c:v>1.4 mg/kg Q6/8W</c:v>
                      </c:pt>
                      <c:pt idx="4">
                        <c:v>1.9 (9W) to 1.4 mg/kg Q9/12W</c:v>
                      </c:pt>
                      <c:pt idx="5">
                        <c:v>1.0 mg/kg Q3/4W</c:v>
                      </c:pt>
                      <c:pt idx="6">
                        <c:v>1.4 (9W) to 1.0 mg/kg Q9/12W</c:v>
                      </c:pt>
                      <c:pt idx="7">
                        <c:v>1.0 mg/kg Q12W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CR+ with MRD'!$B$5:$I$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00</c:v>
                      </c:pt>
                      <c:pt idx="1">
                        <c:v>73</c:v>
                      </c:pt>
                      <c:pt idx="2">
                        <c:v>88</c:v>
                      </c:pt>
                      <c:pt idx="3">
                        <c:v>50</c:v>
                      </c:pt>
                      <c:pt idx="4">
                        <c:v>71</c:v>
                      </c:pt>
                      <c:pt idx="5">
                        <c:v>60</c:v>
                      </c:pt>
                      <c:pt idx="6">
                        <c:v>50</c:v>
                      </c:pt>
                      <c:pt idx="7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DD49-4E02-A6AE-C45FD362B4B2}"/>
                  </c:ext>
                </c:extLst>
              </c15:ser>
            </c15:filteredBarSeries>
          </c:ext>
        </c:extLst>
      </c:barChart>
      <c:catAx>
        <c:axId val="385428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4645776"/>
        <c:crosses val="autoZero"/>
        <c:auto val="1"/>
        <c:lblAlgn val="ctr"/>
        <c:lblOffset val="100"/>
        <c:noMultiLvlLbl val="0"/>
      </c:catAx>
      <c:valAx>
        <c:axId val="324645776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200" b="1">
                    <a:solidFill>
                      <a:schemeClr val="tx1"/>
                    </a:solidFill>
                  </a:rPr>
                  <a:t>Patients (ITT population), %</a:t>
                </a:r>
              </a:p>
            </c:rich>
          </c:tx>
          <c:layout>
            <c:manualLayout>
              <c:xMode val="edge"/>
              <c:yMode val="edge"/>
              <c:x val="1.813758561032772E-2"/>
              <c:y val="3.2093601212354245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5428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6823916519889643"/>
          <c:y val="0.32478764855796322"/>
          <c:w val="0.12056443358849667"/>
          <c:h val="0.2585898272364081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450832418983439E-2"/>
          <c:y val="0"/>
          <c:w val="0.90099833800111062"/>
          <c:h val="0.84365924491771538"/>
        </c:manualLayout>
      </c:layout>
      <c:scatterChart>
        <c:scatterStyle val="lineMarker"/>
        <c:varyColors val="0"/>
        <c:ser>
          <c:idx val="4"/>
          <c:order val="0"/>
          <c:tx>
            <c:strRef>
              <c:f>Sheet1!$A$2</c:f>
              <c:strCache>
                <c:ptCount val="1"/>
                <c:pt idx="0">
                  <c:v>1.9 mg/kg Q3/4W </c:v>
                </c:pt>
              </c:strCache>
            </c:strRef>
          </c:tx>
          <c:spPr>
            <a:ln w="28575">
              <a:solidFill>
                <a:schemeClr val="tx1"/>
              </a:solidFill>
            </a:ln>
          </c:spPr>
          <c:marker>
            <c:symbol val="square"/>
            <c:size val="12"/>
            <c:spPr>
              <a:solidFill>
                <a:schemeClr val="accent4"/>
              </a:solidFill>
              <a:ln>
                <a:noFill/>
              </a:ln>
            </c:spPr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D05E-4F4E-9436-86696F8B7D8A}"/>
              </c:ext>
            </c:extLst>
          </c:dPt>
          <c:dLbls>
            <c:delete val="1"/>
          </c:dLbls>
          <c:errBars>
            <c:errDir val="x"/>
            <c:errBarType val="both"/>
            <c:errValType val="cust"/>
            <c:noEndCap val="0"/>
            <c:plus>
              <c:numRef>
                <c:f>Sheet1!$F$2</c:f>
                <c:numCache>
                  <c:formatCode>General</c:formatCode>
                  <c:ptCount val="1"/>
                  <c:pt idx="0">
                    <c:v>363</c:v>
                  </c:pt>
                </c:numCache>
              </c:numRef>
            </c:plus>
            <c:minus>
              <c:numRef>
                <c:f>Sheet1!$G$2</c:f>
                <c:numCache>
                  <c:formatCode>General</c:formatCode>
                  <c:ptCount val="1"/>
                  <c:pt idx="0">
                    <c:v>34</c:v>
                  </c:pt>
                </c:numCache>
              </c:numRef>
            </c:minus>
            <c:spPr>
              <a:ln w="12700">
                <a:solidFill>
                  <a:schemeClr val="tx1"/>
                </a:solidFill>
              </a:ln>
            </c:spPr>
          </c:errBars>
          <c:xVal>
            <c:numRef>
              <c:f>Sheet1!$C$2</c:f>
              <c:numCache>
                <c:formatCode>General</c:formatCode>
                <c:ptCount val="1"/>
                <c:pt idx="0">
                  <c:v>76</c:v>
                </c:pt>
              </c:numCache>
            </c:numRef>
          </c:xVal>
          <c:yVal>
            <c:numRef>
              <c:f>Sheet1!$B$2</c:f>
              <c:numCache>
                <c:formatCode>General</c:formatCode>
                <c:ptCount val="1"/>
                <c:pt idx="0">
                  <c:v>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D05E-4F4E-9436-86696F8B7D8A}"/>
            </c:ext>
          </c:extLst>
        </c:ser>
        <c:ser>
          <c:idx val="0"/>
          <c:order val="1"/>
          <c:tx>
            <c:strRef>
              <c:f>Sheet1!$A$3</c:f>
              <c:strCache>
                <c:ptCount val="1"/>
                <c:pt idx="0">
                  <c:v>1.9 mg/kg Q6/8W </c:v>
                </c:pt>
              </c:strCache>
            </c:strRef>
          </c:tx>
          <c:spPr>
            <a:ln w="28575">
              <a:solidFill>
                <a:schemeClr val="tx1"/>
              </a:solidFill>
            </a:ln>
          </c:spPr>
          <c:marker>
            <c:symbol val="square"/>
            <c:size val="12"/>
            <c:spPr>
              <a:solidFill>
                <a:schemeClr val="accent1"/>
              </a:solidFill>
              <a:ln>
                <a:noFill/>
              </a:ln>
            </c:spPr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2-D05E-4F4E-9436-86696F8B7D8A}"/>
              </c:ext>
            </c:extLst>
          </c:dPt>
          <c:dLbls>
            <c:delete val="1"/>
          </c:dLbls>
          <c:errBars>
            <c:errDir val="x"/>
            <c:errBarType val="both"/>
            <c:errValType val="cust"/>
            <c:noEndCap val="0"/>
            <c:plus>
              <c:numRef>
                <c:f>Sheet1!$F$3</c:f>
                <c:numCache>
                  <c:formatCode>General</c:formatCode>
                  <c:ptCount val="1"/>
                  <c:pt idx="0">
                    <c:v>226</c:v>
                  </c:pt>
                </c:numCache>
              </c:numRef>
            </c:plus>
            <c:minus>
              <c:numRef>
                <c:f>Sheet1!$G$3</c:f>
                <c:numCache>
                  <c:formatCode>General</c:formatCode>
                  <c:ptCount val="1"/>
                  <c:pt idx="0">
                    <c:v>140</c:v>
                  </c:pt>
                </c:numCache>
              </c:numRef>
            </c:minus>
            <c:spPr>
              <a:ln w="12700">
                <a:solidFill>
                  <a:schemeClr val="tx1"/>
                </a:solidFill>
              </a:ln>
            </c:spPr>
          </c:errBars>
          <c:xVal>
            <c:numRef>
              <c:f>Sheet1!$C$3</c:f>
              <c:numCache>
                <c:formatCode>General</c:formatCode>
                <c:ptCount val="1"/>
                <c:pt idx="0">
                  <c:v>246</c:v>
                </c:pt>
              </c:numCache>
            </c:numRef>
          </c:xVal>
          <c:yVal>
            <c:numRef>
              <c:f>Sheet1!$B$3</c:f>
              <c:numCache>
                <c:formatCode>General</c:formatCode>
                <c:ptCount val="1"/>
                <c:pt idx="0">
                  <c:v>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D05E-4F4E-9436-86696F8B7D8A}"/>
            </c:ext>
          </c:extLst>
        </c:ser>
        <c:ser>
          <c:idx val="1"/>
          <c:order val="2"/>
          <c:tx>
            <c:strRef>
              <c:f>Sheet1!$A$4</c:f>
              <c:strCache>
                <c:ptCount val="1"/>
                <c:pt idx="0">
                  <c:v>1.4 mg/kg Q3/4W</c:v>
                </c:pt>
              </c:strCache>
            </c:strRef>
          </c:tx>
          <c:spPr>
            <a:ln w="28575">
              <a:solidFill>
                <a:schemeClr val="tx1"/>
              </a:solidFill>
            </a:ln>
          </c:spPr>
          <c:marker>
            <c:symbol val="square"/>
            <c:size val="12"/>
            <c:spPr>
              <a:solidFill>
                <a:schemeClr val="accent3"/>
              </a:solidFill>
              <a:ln>
                <a:noFill/>
              </a:ln>
            </c:spPr>
          </c:marker>
          <c:dLbls>
            <c:delete val="1"/>
          </c:dLbls>
          <c:errBars>
            <c:errDir val="x"/>
            <c:errBarType val="both"/>
            <c:errValType val="cust"/>
            <c:noEndCap val="0"/>
            <c:plus>
              <c:numRef>
                <c:f>Sheet1!$F$4</c:f>
                <c:numCache>
                  <c:formatCode>General</c:formatCode>
                  <c:ptCount val="1"/>
                  <c:pt idx="0">
                    <c:v>281</c:v>
                  </c:pt>
                </c:numCache>
              </c:numRef>
            </c:plus>
            <c:minus>
              <c:numRef>
                <c:f>Sheet1!$G$4</c:f>
                <c:numCache>
                  <c:formatCode>General</c:formatCode>
                  <c:ptCount val="1"/>
                  <c:pt idx="0">
                    <c:v>15</c:v>
                  </c:pt>
                </c:numCache>
              </c:numRef>
            </c:minus>
            <c:spPr>
              <a:ln w="12700">
                <a:solidFill>
                  <a:schemeClr val="tx1"/>
                </a:solidFill>
              </a:ln>
            </c:spPr>
          </c:errBars>
          <c:xVal>
            <c:numRef>
              <c:f>Sheet1!$C$4</c:f>
              <c:numCache>
                <c:formatCode>General</c:formatCode>
                <c:ptCount val="1"/>
                <c:pt idx="0">
                  <c:v>128</c:v>
                </c:pt>
              </c:numCache>
            </c:numRef>
          </c:xVal>
          <c:yVal>
            <c:numRef>
              <c:f>Sheet1!$B$4</c:f>
              <c:numCache>
                <c:formatCode>General</c:formatCode>
                <c:ptCount val="1"/>
                <c:pt idx="0">
                  <c:v>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D05E-4F4E-9436-86696F8B7D8A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1.4 mg/kg Q6/8W</c:v>
                </c:pt>
              </c:strCache>
            </c:strRef>
          </c:tx>
          <c:spPr>
            <a:ln w="28575">
              <a:solidFill>
                <a:schemeClr val="tx1"/>
              </a:solidFill>
            </a:ln>
          </c:spPr>
          <c:marker>
            <c:symbol val="square"/>
            <c:size val="12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c:spPr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5-D05E-4F4E-9436-86696F8B7D8A}"/>
              </c:ext>
            </c:extLst>
          </c:dPt>
          <c:dLbls>
            <c:delete val="1"/>
          </c:dLbls>
          <c:errBars>
            <c:errDir val="x"/>
            <c:errBarType val="both"/>
            <c:errValType val="cust"/>
            <c:noEndCap val="0"/>
            <c:plus>
              <c:numRef>
                <c:f>Sheet1!$F$5</c:f>
                <c:numCache>
                  <c:formatCode>General</c:formatCode>
                  <c:ptCount val="1"/>
                  <c:pt idx="0">
                    <c:v>282</c:v>
                  </c:pt>
                </c:numCache>
              </c:numRef>
            </c:plus>
            <c:minus>
              <c:numRef>
                <c:f>Sheet1!$G$5</c:f>
                <c:numCache>
                  <c:formatCode>General</c:formatCode>
                  <c:ptCount val="1"/>
                  <c:pt idx="0">
                    <c:v>172</c:v>
                  </c:pt>
                </c:numCache>
              </c:numRef>
            </c:minus>
            <c:spPr>
              <a:ln w="12700">
                <a:solidFill>
                  <a:schemeClr val="tx1"/>
                </a:solidFill>
              </a:ln>
            </c:spPr>
          </c:errBars>
          <c:xVal>
            <c:numRef>
              <c:f>Sheet1!$C$5</c:f>
              <c:numCache>
                <c:formatCode>General</c:formatCode>
                <c:ptCount val="1"/>
                <c:pt idx="0">
                  <c:v>264</c:v>
                </c:pt>
              </c:numCache>
            </c:numRef>
          </c:xVal>
          <c:yVal>
            <c:numRef>
              <c:f>Sheet1!$B$5</c:f>
              <c:numCache>
                <c:formatCode>General</c:formatCode>
                <c:ptCount val="1"/>
                <c:pt idx="0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D05E-4F4E-9436-86696F8B7D8A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1.9 mg/kg Q3/4W </c:v>
                </c:pt>
              </c:strCache>
            </c:strRef>
          </c:tx>
          <c:spPr>
            <a:ln w="28575">
              <a:solidFill>
                <a:schemeClr val="tx1"/>
              </a:solidFill>
            </a:ln>
          </c:spPr>
          <c:marker>
            <c:symbol val="square"/>
            <c:size val="12"/>
            <c:spPr>
              <a:solidFill>
                <a:schemeClr val="accent4"/>
              </a:solidFill>
              <a:ln>
                <a:noFill/>
              </a:ln>
            </c:spPr>
          </c:marker>
          <c:dLbls>
            <c:delete val="1"/>
          </c:dLbls>
          <c:errBars>
            <c:errDir val="x"/>
            <c:errBarType val="both"/>
            <c:errValType val="cust"/>
            <c:noEndCap val="0"/>
            <c:plus>
              <c:numRef>
                <c:f>Sheet1!$F$7</c:f>
                <c:numCache>
                  <c:formatCode>General</c:formatCode>
                  <c:ptCount val="1"/>
                  <c:pt idx="0">
                    <c:v>67</c:v>
                  </c:pt>
                </c:numCache>
              </c:numRef>
            </c:plus>
            <c:minus>
              <c:numRef>
                <c:f>Sheet1!$G$7</c:f>
                <c:numCache>
                  <c:formatCode>General</c:formatCode>
                  <c:ptCount val="1"/>
                  <c:pt idx="0">
                    <c:v>127</c:v>
                  </c:pt>
                </c:numCache>
              </c:numRef>
            </c:minus>
            <c:spPr>
              <a:ln w="12700"/>
            </c:spPr>
          </c:errBars>
          <c:xVal>
            <c:numRef>
              <c:f>Sheet1!$C$7</c:f>
              <c:numCache>
                <c:formatCode>General</c:formatCode>
                <c:ptCount val="1"/>
                <c:pt idx="0">
                  <c:v>163</c:v>
                </c:pt>
              </c:numCache>
            </c:numRef>
          </c:xVal>
          <c:yVal>
            <c:numRef>
              <c:f>Sheet1!$B$7</c:f>
              <c:numCache>
                <c:formatCode>General</c:formatCode>
                <c:ptCount val="1"/>
                <c:pt idx="0">
                  <c:v>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D05E-4F4E-9436-86696F8B7D8A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1.9 mg/kg Q6/8W </c:v>
                </c:pt>
              </c:strCache>
            </c:strRef>
          </c:tx>
          <c:spPr>
            <a:ln w="28575">
              <a:solidFill>
                <a:schemeClr val="tx1"/>
              </a:solidFill>
            </a:ln>
          </c:spPr>
          <c:marker>
            <c:symbol val="square"/>
            <c:size val="12"/>
            <c:spPr>
              <a:solidFill>
                <a:schemeClr val="accent1"/>
              </a:solidFill>
              <a:ln>
                <a:noFill/>
              </a:ln>
            </c:spPr>
          </c:marker>
          <c:dLbls>
            <c:delete val="1"/>
          </c:dLbls>
          <c:errBars>
            <c:errDir val="x"/>
            <c:errBarType val="both"/>
            <c:errValType val="cust"/>
            <c:noEndCap val="0"/>
            <c:plus>
              <c:numRef>
                <c:f>Sheet1!$F$8</c:f>
                <c:numCache>
                  <c:formatCode>General</c:formatCode>
                  <c:ptCount val="1"/>
                  <c:pt idx="0">
                    <c:v>111</c:v>
                  </c:pt>
                </c:numCache>
              </c:numRef>
            </c:plus>
            <c:minus>
              <c:numRef>
                <c:f>Sheet1!$G$8</c:f>
                <c:numCache>
                  <c:formatCode>General</c:formatCode>
                  <c:ptCount val="1"/>
                  <c:pt idx="0">
                    <c:v>106</c:v>
                  </c:pt>
                </c:numCache>
              </c:numRef>
            </c:minus>
            <c:spPr>
              <a:ln w="12700"/>
            </c:spPr>
          </c:errBars>
          <c:xVal>
            <c:numRef>
              <c:f>Sheet1!$C$8</c:f>
              <c:numCache>
                <c:formatCode>General</c:formatCode>
                <c:ptCount val="1"/>
                <c:pt idx="0">
                  <c:v>135</c:v>
                </c:pt>
              </c:numCache>
            </c:numRef>
          </c:xVal>
          <c:yVal>
            <c:numRef>
              <c:f>Sheet1!$B$8</c:f>
              <c:numCache>
                <c:formatCode>General</c:formatCode>
                <c:ptCount val="1"/>
                <c:pt idx="0">
                  <c:v>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D05E-4F4E-9436-86696F8B7D8A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1.4 mg/kg Q3/4W</c:v>
                </c:pt>
              </c:strCache>
            </c:strRef>
          </c:tx>
          <c:spPr>
            <a:ln>
              <a:solidFill>
                <a:schemeClr val="tx1">
                  <a:lumMod val="50000"/>
                  <a:lumOff val="50000"/>
                </a:schemeClr>
              </a:solidFill>
            </a:ln>
          </c:spPr>
          <c:marker>
            <c:symbol val="square"/>
            <c:size val="12"/>
            <c:spPr>
              <a:solidFill>
                <a:schemeClr val="accent3"/>
              </a:solidFill>
              <a:ln>
                <a:noFill/>
              </a:ln>
            </c:spPr>
          </c:marker>
          <c:dLbls>
            <c:delete val="1"/>
          </c:dLbls>
          <c:errBars>
            <c:errDir val="x"/>
            <c:errBarType val="both"/>
            <c:errValType val="cust"/>
            <c:noEndCap val="0"/>
            <c:plus>
              <c:numRef>
                <c:f>Sheet1!$F$9</c:f>
                <c:numCache>
                  <c:formatCode>General</c:formatCode>
                  <c:ptCount val="1"/>
                  <c:pt idx="0">
                    <c:v>49</c:v>
                  </c:pt>
                </c:numCache>
              </c:numRef>
            </c:plus>
            <c:minus>
              <c:numRef>
                <c:f>Sheet1!$G$9</c:f>
                <c:numCache>
                  <c:formatCode>General</c:formatCode>
                  <c:ptCount val="1"/>
                  <c:pt idx="0">
                    <c:v>14</c:v>
                  </c:pt>
                </c:numCache>
              </c:numRef>
            </c:minus>
            <c:spPr>
              <a:ln w="12700"/>
            </c:spPr>
          </c:errBars>
          <c:xVal>
            <c:numRef>
              <c:f>Sheet1!$C$9</c:f>
              <c:numCache>
                <c:formatCode>General</c:formatCode>
                <c:ptCount val="1"/>
                <c:pt idx="0">
                  <c:v>36</c:v>
                </c:pt>
              </c:numCache>
            </c:numRef>
          </c:xVal>
          <c:yVal>
            <c:numRef>
              <c:f>Sheet1!$B$9</c:f>
              <c:numCache>
                <c:formatCode>General</c:formatCode>
                <c:ptCount val="1"/>
                <c:pt idx="0">
                  <c:v>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D05E-4F4E-9436-86696F8B7D8A}"/>
            </c:ext>
          </c:extLst>
        </c:ser>
        <c:ser>
          <c:idx val="8"/>
          <c:order val="8"/>
          <c:tx>
            <c:strRef>
              <c:f>Sheet1!$A$10</c:f>
              <c:strCache>
                <c:ptCount val="1"/>
                <c:pt idx="0">
                  <c:v>1.4 mg/kg Q6/8W</c:v>
                </c:pt>
              </c:strCache>
            </c:strRef>
          </c:tx>
          <c:marker>
            <c:symbol val="square"/>
            <c:size val="12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c:spPr>
          </c:marker>
          <c:dLbls>
            <c:delete val="1"/>
          </c:dLbls>
          <c:errBars>
            <c:errDir val="x"/>
            <c:errBarType val="both"/>
            <c:errValType val="cust"/>
            <c:noEndCap val="0"/>
            <c:plus>
              <c:numRef>
                <c:f>Sheet1!$F$10</c:f>
                <c:numCache>
                  <c:formatCode>General</c:formatCode>
                  <c:ptCount val="1"/>
                  <c:pt idx="0">
                    <c:v>351</c:v>
                  </c:pt>
                </c:numCache>
              </c:numRef>
            </c:plus>
            <c:minus>
              <c:numRef>
                <c:f>Sheet1!$G$10</c:f>
                <c:numCache>
                  <c:formatCode>General</c:formatCode>
                  <c:ptCount val="1"/>
                  <c:pt idx="0">
                    <c:v>27</c:v>
                  </c:pt>
                </c:numCache>
              </c:numRef>
            </c:minus>
            <c:spPr>
              <a:ln w="12700"/>
            </c:spPr>
          </c:errBars>
          <c:errBars>
            <c:errDir val="y"/>
            <c:errBarType val="both"/>
            <c:errValType val="stdErr"/>
            <c:noEndCap val="0"/>
          </c:errBars>
          <c:xVal>
            <c:numRef>
              <c:f>Sheet1!$C$10</c:f>
              <c:numCache>
                <c:formatCode>General</c:formatCode>
                <c:ptCount val="1"/>
                <c:pt idx="0">
                  <c:v>70</c:v>
                </c:pt>
              </c:numCache>
            </c:numRef>
          </c:xVal>
          <c:yVal>
            <c:numRef>
              <c:f>Sheet1!$B$10</c:f>
              <c:numCache>
                <c:formatCode>General</c:formatCode>
                <c:ptCount val="1"/>
                <c:pt idx="0">
                  <c:v>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D05E-4F4E-9436-86696F8B7D8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324646560"/>
        <c:axId val="392650088"/>
        <c:extLst>
          <c:ext xmlns:c15="http://schemas.microsoft.com/office/drawing/2012/chart" uri="{02D57815-91ED-43cb-92C2-25804820EDAC}">
            <c15:filteredScatterSeries>
              <c15:ser>
                <c:idx val="2"/>
                <c:order val="4"/>
                <c:tx>
                  <c:str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ln w="28575">
                    <a:solidFill>
                      <a:schemeClr val="tx1"/>
                    </a:solidFill>
                  </a:ln>
                </c:spPr>
                <c:marker>
                  <c:symbol val="square"/>
                  <c:size val="12"/>
                  <c:spPr>
                    <a:solidFill>
                      <a:srgbClr val="004890"/>
                    </a:solidFill>
                    <a:ln>
                      <a:solidFill>
                        <a:schemeClr val="tx1"/>
                      </a:solidFill>
                    </a:ln>
                  </c:spPr>
                </c:marker>
                <c:dPt>
                  <c:idx val="0"/>
                  <c:bubble3D val="0"/>
                  <c:extLst>
                    <c:ext xmlns:c16="http://schemas.microsoft.com/office/drawing/2014/chart" uri="{C3380CC4-5D6E-409C-BE32-E72D297353CC}">
                      <c16:uniqueId val="{00000007-D05E-4F4E-9436-86696F8B7D8A}"/>
                    </c:ext>
                  </c:extLst>
                </c:dPt>
                <c:dLbls>
                  <c:delete val="1"/>
                </c:dLbls>
                <c:errBars>
                  <c:errDir val="x"/>
                  <c:errBarType val="both"/>
                  <c:errValType val="cust"/>
                  <c:noEndCap val="0"/>
                  <c:plus>
                    <c:numRef>
                      <c:extLst>
                        <c:ext uri="{02D57815-91ED-43cb-92C2-25804820EDAC}">
                          <c15:formulaRef>
                            <c15:sqref>Sheet1!#REF!</c15:sqref>
                          </c15:formulaRef>
                        </c:ext>
                      </c:extLst>
                      <c:numCache>
                        <c:formatCode>General</c:formatCode>
                        <c:ptCount val="1"/>
                        <c:pt idx="0">
                          <c:v>1</c:v>
                        </c:pt>
                      </c:numCache>
                    </c:numRef>
                  </c:plus>
                  <c:minus>
                    <c:numRef>
                      <c:extLst>
                        <c:ext uri="{02D57815-91ED-43cb-92C2-25804820EDAC}">
                          <c15:formulaRef>
                            <c15:sqref>Sheet1!#REF!</c15:sqref>
                          </c15:formulaRef>
                        </c:ext>
                      </c:extLst>
                      <c:numCache>
                        <c:formatCode>General</c:formatCode>
                        <c:ptCount val="1"/>
                        <c:pt idx="0">
                          <c:v>1</c:v>
                        </c:pt>
                      </c:numCache>
                    </c:numRef>
                  </c:minus>
                  <c:spPr>
                    <a:ln w="3175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c:spPr>
                </c:errBars>
                <c:xVal>
                  <c:num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8-D05E-4F4E-9436-86696F8B7D8A}"/>
                  </c:ext>
                </c:extLst>
              </c15:ser>
            </c15:filteredScatterSeries>
          </c:ext>
        </c:extLst>
      </c:scatterChart>
      <c:valAx>
        <c:axId val="3246465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spPr>
          <a:ln w="12700">
            <a:solidFill>
              <a:schemeClr val="tx1"/>
            </a:solidFill>
          </a:ln>
        </c:spPr>
        <c:txPr>
          <a:bodyPr/>
          <a:lstStyle/>
          <a:p>
            <a:pPr>
              <a:defRPr sz="1100"/>
            </a:pPr>
            <a:endParaRPr lang="en-US"/>
          </a:p>
        </c:txPr>
        <c:crossAx val="392650088"/>
        <c:crosses val="autoZero"/>
        <c:crossBetween val="midCat"/>
      </c:valAx>
      <c:valAx>
        <c:axId val="3926500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24646560"/>
        <c:crossesAt val="0"/>
        <c:crossBetween val="midCat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r>
              <a:rPr lang="en-US" b="1">
                <a:solidFill>
                  <a:schemeClr val="accent1"/>
                </a:solidFill>
              </a:rPr>
              <a:t>ORR=97%</a:t>
            </a:r>
          </a:p>
        </c:rich>
      </c:tx>
      <c:layout>
        <c:manualLayout>
          <c:xMode val="edge"/>
          <c:yMode val="edge"/>
          <c:x val="0.42570965476754286"/>
          <c:y val="4.87547027173880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B648-A644-A209-F52EBDD59E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fficacy evaluable patients (N=86)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22-4B52-A480-D06647E30BF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GPR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fficacy evaluable patients (N=86)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A22-4B52-A480-D06647E30BF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CR/CR</c:v>
                </c:pt>
              </c:strCache>
            </c:strRef>
          </c:tx>
          <c:spPr>
            <a:solidFill>
              <a:srgbClr val="13896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Efficacy evaluable patients (N=86)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A22-4B52-A480-D06647E30BF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326295104"/>
        <c:axId val="327186672"/>
      </c:barChart>
      <c:catAx>
        <c:axId val="326295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595454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7186672"/>
        <c:crosses val="autoZero"/>
        <c:auto val="0"/>
        <c:lblAlgn val="ctr"/>
        <c:lblOffset val="100"/>
        <c:noMultiLvlLbl val="0"/>
      </c:catAx>
      <c:valAx>
        <c:axId val="327186672"/>
        <c:scaling>
          <c:orientation val="minMax"/>
          <c:max val="1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aseline="0">
                    <a:solidFill>
                      <a:srgbClr val="595454"/>
                    </a:solidFill>
                  </a:rPr>
                  <a:t>Response (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62951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595454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35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-72" charset="2"/>
              <a:buNone/>
              <a:defRPr sz="1200">
                <a:latin typeface="Arial" pitchFamily="-72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03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91000" y="0"/>
            <a:ext cx="335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96" charset="2"/>
              <a:buNone/>
              <a:defRPr sz="1200">
                <a:latin typeface="Arial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E2B7CC06-35E6-42FC-8B5E-42EE52A72567}" type="datetime1">
              <a:rPr lang="en-US"/>
              <a:pPr>
                <a:defRPr/>
              </a:pPr>
              <a:t>5/12/25</a:t>
            </a:fld>
            <a:endParaRPr lang="en-US"/>
          </a:p>
        </p:txBody>
      </p:sp>
      <p:sp>
        <p:nvSpPr>
          <p:cNvPr id="1003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04800" y="9220200"/>
            <a:ext cx="335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-72" charset="2"/>
              <a:buNone/>
              <a:defRPr sz="1200">
                <a:latin typeface="Arial" pitchFamily="-72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03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220200"/>
            <a:ext cx="3200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96" charset="2"/>
              <a:buNone/>
              <a:defRPr sz="1200">
                <a:latin typeface="Arial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E82FF3A5-13B6-4316-814F-1F1469E14EC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3338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1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823913" y="1006475"/>
            <a:ext cx="6121400" cy="344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sp>
      <p:sp>
        <p:nvSpPr>
          <p:cNvPr id="2050" name="Rectangle 2"/>
          <p:cNvSpPr>
            <a:spLocks noGrp="1" noChangeArrowheads="1"/>
          </p:cNvSpPr>
          <p:nvPr>
            <p:ph type="body"/>
          </p:nvPr>
        </p:nvSpPr>
        <p:spPr bwMode="auto">
          <a:xfrm>
            <a:off x="1185863" y="4787900"/>
            <a:ext cx="5405437" cy="38242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8842158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-72" charset="0"/>
      <a:defRPr sz="1200" kern="1200">
        <a:solidFill>
          <a:srgbClr val="000000"/>
        </a:solidFill>
        <a:latin typeface="Times New Roman" pitchFamily="18" charset="0"/>
        <a:ea typeface="MS PGothic" pitchFamily="34" charset="-128"/>
        <a:cs typeface="MS PGothic" charset="0"/>
      </a:defRPr>
    </a:lvl1pPr>
    <a:lvl2pPr marL="37931725" indent="-37474525"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-72" charset="0"/>
      <a:defRPr sz="1200" kern="1200">
        <a:solidFill>
          <a:srgbClr val="000000"/>
        </a:solidFill>
        <a:latin typeface="Times New Roman" pitchFamily="18" charset="0"/>
        <a:ea typeface="MS PGothic" pitchFamily="34" charset="-128"/>
        <a:cs typeface="+mn-cs"/>
      </a:defRPr>
    </a:lvl2pPr>
    <a:lvl3pPr marL="1143000" indent="-228600"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8" charset="0"/>
        <a:ea typeface="ＭＳ Ｐゴシック" pitchFamily="-123" charset="-128"/>
        <a:cs typeface="ＭＳ Ｐゴシック" pitchFamily="-72" charset="-128"/>
      </a:defRPr>
    </a:lvl3pPr>
    <a:lvl4pPr marL="1600200" indent="-228600"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8" charset="0"/>
        <a:ea typeface="ＭＳ Ｐゴシック" pitchFamily="-123" charset="-128"/>
        <a:cs typeface="+mn-cs"/>
      </a:defRPr>
    </a:lvl4pPr>
    <a:lvl5pPr marL="2057400" indent="-228600"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8" charset="0"/>
        <a:ea typeface="ＭＳ Ｐゴシック" pitchFamily="-123" charset="-128"/>
        <a:cs typeface="+mn-cs"/>
      </a:defRPr>
    </a:lvl5pPr>
    <a:lvl6pPr marL="2285289" algn="l" defTabSz="91411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347" algn="l" defTabSz="91411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405" algn="l" defTabSz="91411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462" algn="l" defTabSz="91411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76E4A1-53B6-4D70-E944-B679BE97CE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Rectangle 7">
            <a:extLst>
              <a:ext uri="{FF2B5EF4-FFF2-40B4-BE49-F238E27FC236}">
                <a16:creationId xmlns:a16="http://schemas.microsoft.com/office/drawing/2014/main" id="{0D8BD4EE-BE6E-12D9-232A-947B5194EC92}"/>
              </a:ext>
            </a:extLst>
          </p:cNvPr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4402138" y="9553575"/>
            <a:ext cx="3368675" cy="5032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101882" tIns="50941" rIns="101882" bIns="50941">
            <a:prstTxWarp prst="textNoShape">
              <a:avLst/>
            </a:prstTxWarp>
          </a:bodyPr>
          <a:lstStyle/>
          <a:p>
            <a:pPr marL="0" marR="0" lvl="0" indent="0" algn="ctr" defTabSz="455613" rtl="0" eaLnBrk="0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None/>
              <a:tabLst/>
              <a:defRPr/>
            </a:pPr>
            <a:fld id="{DA2F918B-534C-4494-B5B9-E33C0B6FBC7A}" type="slidenum"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pPr marL="0" marR="0" lvl="0" indent="0" algn="ctr" defTabSz="455613" rtl="0" eaLnBrk="0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Wingdings" pitchFamily="-72" charset="2"/>
                <a:buNone/>
                <a:tabLst/>
                <a:defRPr/>
              </a:pPr>
              <a:t>1</a:t>
            </a:fld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-72" charset="0"/>
              <a:ea typeface="MS PGothic" charset="0"/>
            </a:endParaRPr>
          </a:p>
        </p:txBody>
      </p:sp>
      <p:sp>
        <p:nvSpPr>
          <p:cNvPr id="74754" name="Rectangle 2">
            <a:extLst>
              <a:ext uri="{FF2B5EF4-FFF2-40B4-BE49-F238E27FC236}">
                <a16:creationId xmlns:a16="http://schemas.microsoft.com/office/drawing/2014/main" id="{3DB8B49D-4C5C-C1C3-9DF9-8D187933683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23913" y="1006475"/>
            <a:ext cx="6121400" cy="3444875"/>
          </a:xfrm>
        </p:spPr>
      </p:sp>
      <p:sp>
        <p:nvSpPr>
          <p:cNvPr id="74755" name="Rectangle 3">
            <a:extLst>
              <a:ext uri="{FF2B5EF4-FFF2-40B4-BE49-F238E27FC236}">
                <a16:creationId xmlns:a16="http://schemas.microsoft.com/office/drawing/2014/main" id="{DBCDD651-F3CE-8268-DCEF-FC7E4008165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>
              <a:latin typeface="Times New Roman" pitchFamily="-72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35795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65C4EF-9B01-CA28-66E1-E00C75A275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8F792E4-A389-0B04-A6AA-907CC3AC6F7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42878F2-EF1C-5DAA-E63B-49DE52AE54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9772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7157E5-ACB9-6DFA-111B-6EEE4C3C98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508DCF5-F552-200A-AD95-41D00136A8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485CBA4-19E0-92E7-E686-4C899A2A83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2690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605187-FDD6-C530-E656-E2BF1AF997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297B3CE-8806-D156-A011-6D5464EA18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100179-1F00-2B1D-AE39-E08F554591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19246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24910D-DE64-56B2-225B-EE05A45E74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85BAEA-15D1-AEA5-62EE-EE75F4F1C8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341734E-2205-1AD1-3A42-20B71165EA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327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0D761D-EB4B-BD63-736E-2F833341D5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A07452-04B4-3EA0-FADA-AF324A5896E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3CB2FCB-E059-CA30-A20C-72FFC9ED1C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161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B846CF-CE62-C54C-ACDF-CE06C85933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BED9A5D-B3CF-CF51-D943-DDC8C6C948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8ED5D0B-6E38-002C-7DE4-384BEEAE13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1942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21482F-EB9A-D92E-4690-78DED38BD7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A2A8729-4891-E6CC-5B06-2C67A9A2BA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D033431-C24A-484D-4E63-AA2DB4DC0F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38846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86DE09-C18C-CAB5-8580-11DA20136B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F7B985-7A3F-46EF-9B81-4C61E93E41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8320145-839B-495C-5EFB-AF81524291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5254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D9E9D-93A9-4E6A-8E42-DC0055A8528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94222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9F39AB-4A4F-4F5A-9DE2-8F22FCD313A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55221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19791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9F39AB-4A4F-4F5A-9DE2-8F22FCD313A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983346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9F39AB-4A4F-4F5A-9DE2-8F22FCD313A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108862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400"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6B53C8-14E4-49A7-A1A5-3BF810B81EB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Noto San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Noto Sans"/>
            </a:endParaRPr>
          </a:p>
        </p:txBody>
      </p:sp>
    </p:spTree>
    <p:extLst>
      <p:ext uri="{BB962C8B-B14F-4D97-AF65-F5344CB8AC3E}">
        <p14:creationId xmlns:p14="http://schemas.microsoft.com/office/powerpoint/2010/main" val="368502929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08B65D-6C70-44D2-77D3-064534688C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6EDD5FA-2913-350B-2529-3326D9BFB5A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690C9D-BD96-2847-D8F2-1F9E397703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lang="en-GB" sz="1400"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D3BF23-BF8E-067C-55D9-39BCD4BF7D6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6B53C8-14E4-49A7-A1A5-3BF810B81EB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673274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C48555-1188-5B1E-7A5F-47772E1876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67B1B5D-D0F4-509E-677A-2B936BB8DD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F1A31E-CD90-8BA7-47AB-8D91793ECF7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400" b="0"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252D7A-B918-69AF-E49A-C49A1119F3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6B53C8-14E4-49A7-A1A5-3BF810B81EB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555397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9A608F-6FD5-E83C-2860-03DF646774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4A41BD5-BE3D-D15E-66AE-D33ACCFD13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5178F6-833F-F918-62B7-66AC1C278B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400"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31BFEB-344D-4DC0-0F3B-B0F15F6A7B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6B53C8-14E4-49A7-A1A5-3BF810B81EB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324096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7DF7C0-428A-6C62-F69E-CD42C32FEE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5AC998D-9CB0-5121-6B18-2EA804A070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1561E77-7C6D-86FA-D4E1-B1E65FD8A8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28660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CB8535-DC0F-AF47-A510-8461A80C06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425088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734035-1C10-DE37-275E-27E14C4F55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BAE075-5749-5916-FF42-AAC1F71168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2E16784-6E1C-F51F-00FB-9452362DCA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CE490D-947D-7B66-EB6B-02921E1AD46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CB8535-DC0F-AF47-A510-8461A80C06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430998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B6EA30-647A-209C-2B13-113AEAAAA6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AE5B7D-073E-7B60-3AB1-3552C7DFB8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3D557E-2C71-CD05-E1B2-59CB0E7EED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8BE7F9-3C6F-D0EA-A3B7-89A74AC7FA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CB8535-DC0F-AF47-A510-8461A80C06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4656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37070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CD197D-8D0B-7C49-ED7F-16D15B79C3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0175E8-356F-EFEE-53E0-86C058B46D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494888-B3DB-5C9E-C7DB-6459B1F15B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EF8645-9D80-6468-82FA-0B0351D61B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CB8535-DC0F-AF47-A510-8461A80C06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20954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C393AD-7587-32AE-F990-6891E42491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B8CB2B8-82B9-D73A-0333-C9A5F2F778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2B6590-4883-2BFB-A986-D29F48AAF9C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685411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4737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A64B06-3836-1EF7-0435-5BE191B73F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64E80E-A646-3B93-25F0-AF3FBB56D93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F95BC16-D487-46AD-2A40-E028EEE386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E04937-7691-5F76-3D98-0F3D8C95D9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76538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671DD1-B08F-B3AE-4390-2880001398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135AAA-4339-E6EA-1ACE-7B88A36C24D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89A51C5-6B56-1E2A-60A2-8B1592DC34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DC5ED0-CA9E-1FA4-7205-2C55E45AC31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21883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2E092A-A456-0E6D-DF39-92E1713A6B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6D20727-56C5-5165-810D-B05CCC99BA4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EDEB86-645C-BDD6-B81C-4E13247DF6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19427E-5B06-4E58-5078-6F20E19647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ED10F0-507C-4D4A-A089-BA11918015A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071400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0E5AE3-DFC0-E46B-DEC9-33FC3D423C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DA735F-9B78-DFB0-6D4A-EE4EF52DC4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D3DBAB6-A50D-A015-AA6E-982E1BC2E7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227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0941A6-7A0F-15EA-24F3-FEEEBF71AC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CD3A147-80D3-95CC-0C96-D1BEF530BA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1D09030-D302-A100-CC88-CBD4591FCB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5317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78A328-A671-A5D6-181B-ED3DCB1904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78F5900-9FEE-4B01-4FAE-00137DF822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288ABDE-6F1E-2357-512D-37EA841D0A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976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58A3D0-AC02-F62E-2E19-AD9CF43C0A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9832A1-1AE2-2EB9-FE3A-7ED0DB95C2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12DAEB-0B58-0F0B-537F-8FA2215F9D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2065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FF4976-F3C7-3A54-8513-C7985A709D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4D0E17-F862-CE6F-C70C-ADA0934594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161F86-1CB6-8D36-8313-1F9A794091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48459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11884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11884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linicaloptions.com/" TargetMode="External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.xml"/><Relationship Id="rId4" Type="http://schemas.openxmlformats.org/officeDocument/2006/relationships/image" Target="../media/image15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9.xml"/><Relationship Id="rId4" Type="http://schemas.openxmlformats.org/officeDocument/2006/relationships/image" Target="../media/image15.emf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0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1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2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4.xml"/><Relationship Id="rId4" Type="http://schemas.openxmlformats.org/officeDocument/2006/relationships/image" Target="../media/image15.emf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7535" y="2347916"/>
            <a:ext cx="11425767" cy="162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17184" y="4283078"/>
            <a:ext cx="9408584" cy="1931987"/>
          </a:xfrm>
        </p:spPr>
        <p:txBody>
          <a:bodyPr/>
          <a:lstStyle>
            <a:lvl1pPr marL="0" indent="0" algn="ctr">
              <a:buNone/>
              <a:defRPr/>
            </a:lvl1pPr>
            <a:lvl2pPr marL="457058" indent="0" algn="ctr">
              <a:buNone/>
              <a:defRPr/>
            </a:lvl2pPr>
            <a:lvl3pPr marL="914115" indent="0" algn="ctr">
              <a:buNone/>
              <a:defRPr/>
            </a:lvl3pPr>
            <a:lvl4pPr marL="1371173" indent="0" algn="ctr">
              <a:buNone/>
              <a:defRPr/>
            </a:lvl4pPr>
            <a:lvl5pPr marL="1828231" indent="0" algn="ctr">
              <a:buNone/>
              <a:defRPr/>
            </a:lvl5pPr>
            <a:lvl6pPr marL="2285289" indent="0" algn="ctr">
              <a:buNone/>
              <a:defRPr/>
            </a:lvl6pPr>
            <a:lvl7pPr marL="2742347" indent="0" algn="ctr">
              <a:buNone/>
              <a:defRPr/>
            </a:lvl7pPr>
            <a:lvl8pPr marL="3199405" indent="0" algn="ctr">
              <a:buNone/>
              <a:defRPr/>
            </a:lvl8pPr>
            <a:lvl9pPr marL="3656462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59233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7241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0950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7A49372-BC99-44B1-93F3-52B055BA1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B38AA5-2B64-4B5B-A11F-3ADF856814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6096157"/>
            <a:ext cx="11461750" cy="262943"/>
          </a:xfrm>
        </p:spPr>
        <p:txBody>
          <a:bodyPr bIns="108000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 sz="1000"/>
              <a:t>References and abbreviations here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4052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0D8B1-1581-4488-A1A4-886D01EEFD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6CF9CDAC-EC28-4BA6-9827-D58133E188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CAB9906-18B6-4257-AA9B-21954B0494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6096157"/>
            <a:ext cx="11461750" cy="262943"/>
          </a:xfrm>
        </p:spPr>
        <p:txBody>
          <a:bodyPr bIns="108000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 sz="1000"/>
              <a:t>References and abbreviations here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920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7D43C-8061-4F4B-A58C-537B44EA7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B38AA5-2B64-4B5B-A11F-3ADF856814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4490" y="6111295"/>
            <a:ext cx="11461751" cy="238962"/>
          </a:xfrm>
        </p:spPr>
        <p:txBody>
          <a:bodyPr bIns="108000" anchor="b">
            <a:spAutoFit/>
          </a:bodyPr>
          <a:lstStyle>
            <a:lvl1pPr marL="0" indent="0" algn="l">
              <a:spcBef>
                <a:spcPts val="0"/>
              </a:spcBef>
              <a:buNone/>
              <a:defRPr sz="844"/>
            </a:lvl1pPr>
          </a:lstStyle>
          <a:p>
            <a:pPr lvl="0"/>
            <a:r>
              <a:rPr lang="en-US" sz="844"/>
              <a:t>References and abbreviations here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2718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Unbranded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286778"/>
            <a:ext cx="10363200" cy="885121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1"/>
            <a:ext cx="12192000" cy="3882305"/>
          </a:xfrm>
          <a:solidFill>
            <a:srgbClr val="071D49"/>
          </a:solidFill>
        </p:spPr>
        <p:txBody>
          <a:bodyPr anchor="ctr">
            <a:normAutofit/>
          </a:bodyPr>
          <a:lstStyle>
            <a:lvl1pPr algn="ctr">
              <a:defRPr sz="3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914400" y="5178786"/>
            <a:ext cx="10363200" cy="885118"/>
          </a:xfrm>
        </p:spPr>
        <p:txBody>
          <a:bodyPr>
            <a:normAutofit/>
          </a:bodyPr>
          <a:lstStyle>
            <a:lvl1pPr marL="0" indent="0" algn="ctr">
              <a:buNone/>
              <a:defRPr sz="1600" i="1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54E6146F-0B1F-4060-8180-BA7EB7FDB2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3746" y="6551793"/>
            <a:ext cx="935420" cy="162527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3991C7A-5E7C-44F1-8BCE-3D8A59A10F17}"/>
              </a:ext>
            </a:extLst>
          </p:cNvPr>
          <p:cNvCxnSpPr>
            <a:cxnSpLocks/>
          </p:cNvCxnSpPr>
          <p:nvPr userDrawn="1"/>
        </p:nvCxnSpPr>
        <p:spPr>
          <a:xfrm>
            <a:off x="381000" y="6413502"/>
            <a:ext cx="11433629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2988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>
          <p15:clr>
            <a:srgbClr val="FBAE40"/>
          </p15:clr>
        </p15:guide>
        <p15:guide id="2" pos="240">
          <p15:clr>
            <a:srgbClr val="FBAE40"/>
          </p15:clr>
        </p15:guide>
        <p15:guide id="3" pos="7442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grou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838200" y="292231"/>
            <a:ext cx="10515600" cy="5884732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68275" indent="-168275">
              <a:buClr>
                <a:srgbClr val="071D49"/>
              </a:buCl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4350" indent="-168275">
              <a:buClr>
                <a:srgbClr val="081538"/>
              </a:buClr>
              <a:buFont typeface="Arial" panose="020B0604020202020204" pitchFamily="34" charset="0"/>
              <a:buChar char="−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860425" indent="-177800">
              <a:buClr>
                <a:srgbClr val="081538"/>
              </a:buClr>
              <a:buFont typeface="Arial" panose="020B0604020202020204" pitchFamily="34" charset="0"/>
              <a:buChar char="−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4588" indent="-176213">
              <a:buClr>
                <a:srgbClr val="081538"/>
              </a:buClr>
              <a:buFont typeface="Arial" panose="020B0604020202020204" pitchFamily="34" charset="0"/>
              <a:buChar char="−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3767416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clus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1154B02-468B-4674-B816-EAD71BCC89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92231"/>
            <a:ext cx="10515600" cy="5884732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68275" indent="-168275">
              <a:buClr>
                <a:srgbClr val="071D49"/>
              </a:buCl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4350" indent="-168275">
              <a:buClr>
                <a:srgbClr val="081538"/>
              </a:buClr>
              <a:buFont typeface="Arial" panose="020B0604020202020204" pitchFamily="34" charset="0"/>
              <a:buChar char="−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860425" indent="-177800">
              <a:buClr>
                <a:srgbClr val="081538"/>
              </a:buClr>
              <a:buFont typeface="Arial" panose="020B0604020202020204" pitchFamily="34" charset="0"/>
              <a:buChar char="−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4588" indent="-176213">
              <a:buClr>
                <a:srgbClr val="081538"/>
              </a:buClr>
              <a:buFont typeface="Arial" panose="020B0604020202020204" pitchFamily="34" charset="0"/>
              <a:buChar char="−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70540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2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401F40-EB96-A03B-656B-8B5ABDF9D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60000"/>
            <a:ext cx="11163133" cy="1188000"/>
          </a:xfrm>
        </p:spPr>
        <p:txBody>
          <a:bodyPr/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045F842-1CE9-00C5-009C-116CA8069F02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60000" y="1548000"/>
            <a:ext cx="11700000" cy="4320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445BDDB-539C-4474-6026-8FE3415F48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3786" y="6480793"/>
            <a:ext cx="6002215" cy="219328"/>
          </a:xfrm>
          <a:prstGeom prst="rect">
            <a:avLst/>
          </a:prstGeom>
        </p:spPr>
        <p:txBody>
          <a:bodyPr/>
          <a:lstStyle>
            <a:lvl1pPr algn="l">
              <a:defRPr lang="en-US" sz="1000" b="0" i="0" kern="1200" dirty="0">
                <a:solidFill>
                  <a:schemeClr val="tx1"/>
                </a:solidFill>
                <a:latin typeface="Jost Light" pitchFamily="2" charset="77"/>
                <a:ea typeface="Jost Light" pitchFamily="2" charset="77"/>
                <a:cs typeface="+mn-cs"/>
              </a:defRPr>
            </a:lvl1pPr>
          </a:lstStyle>
          <a:p>
            <a:r>
              <a:rPr lang="en-GB"/>
              <a:t>Confidential – Do not copy or distribut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17E79B6-13B7-93FC-F6C9-43CC85686A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36720" y="6527256"/>
            <a:ext cx="432000" cy="219329"/>
          </a:xfrm>
          <a:prstGeom prst="rect">
            <a:avLst/>
          </a:prstGeom>
        </p:spPr>
        <p:txBody>
          <a:bodyPr/>
          <a:lstStyle>
            <a:lvl1pPr>
              <a:defRPr lang="en-US" sz="1051" b="0" i="0" kern="1200" smtClean="0">
                <a:solidFill>
                  <a:schemeClr val="tx1"/>
                </a:solidFill>
                <a:latin typeface="Jost Light" pitchFamily="2" charset="77"/>
                <a:ea typeface="Jost Light" pitchFamily="2" charset="77"/>
                <a:cs typeface="+mn-cs"/>
              </a:defRPr>
            </a:lvl1pPr>
          </a:lstStyle>
          <a:p>
            <a:fld id="{B0ABAB64-726D-C943-9B15-2E81C6025A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71363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/>
          <a:lstStyle>
            <a:lvl1pPr algn="l">
              <a:defRPr sz="4267" b="1">
                <a:solidFill>
                  <a:srgbClr val="004A6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037045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545455"/>
                </a:solidFill>
              </a:defRPr>
            </a:lvl1pPr>
            <a:lvl2pPr>
              <a:defRPr sz="3200">
                <a:solidFill>
                  <a:srgbClr val="545455"/>
                </a:solidFill>
              </a:defRPr>
            </a:lvl2pPr>
            <a:lvl3pPr>
              <a:defRPr sz="3200">
                <a:solidFill>
                  <a:srgbClr val="545455"/>
                </a:solidFill>
              </a:defRPr>
            </a:lvl3pPr>
            <a:lvl4pPr>
              <a:defRPr sz="3200">
                <a:solidFill>
                  <a:srgbClr val="545455"/>
                </a:solidFill>
              </a:defRPr>
            </a:lvl4pPr>
            <a:lvl5pPr>
              <a:defRPr sz="3200">
                <a:solidFill>
                  <a:srgbClr val="545455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037045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545455"/>
                </a:solidFill>
              </a:defRPr>
            </a:lvl1pPr>
            <a:lvl2pPr>
              <a:defRPr sz="3200">
                <a:solidFill>
                  <a:srgbClr val="545455"/>
                </a:solidFill>
              </a:defRPr>
            </a:lvl2pPr>
            <a:lvl3pPr>
              <a:defRPr sz="3200">
                <a:solidFill>
                  <a:srgbClr val="545455"/>
                </a:solidFill>
              </a:defRPr>
            </a:lvl3pPr>
            <a:lvl4pPr>
              <a:defRPr sz="3200">
                <a:solidFill>
                  <a:srgbClr val="545455"/>
                </a:solidFill>
              </a:defRPr>
            </a:lvl4pPr>
            <a:lvl5pPr>
              <a:defRPr sz="3200">
                <a:solidFill>
                  <a:srgbClr val="545455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1168672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0D8B1-1581-4488-A1A4-886D01EEFD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6CF9CDAC-EC28-4BA6-9827-D58133E188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DE5F1-E0F9-4CCA-92B7-7A6FC4DFEE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689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2738" y="627063"/>
            <a:ext cx="2868084" cy="62357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86369" y="627063"/>
            <a:ext cx="8403167" cy="62357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761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urple and blue smoke with a dart in the center&#10;&#10;Description automatically generated">
            <a:extLst>
              <a:ext uri="{FF2B5EF4-FFF2-40B4-BE49-F238E27FC236}">
                <a16:creationId xmlns:a16="http://schemas.microsoft.com/office/drawing/2014/main" id="{65DD5658-EA73-254E-2427-429FD84F2F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94" b="9732"/>
          <a:stretch/>
        </p:blipFill>
        <p:spPr>
          <a:xfrm>
            <a:off x="6114253" y="3657600"/>
            <a:ext cx="6089657" cy="3200399"/>
          </a:xfrm>
          <a:prstGeom prst="rect">
            <a:avLst/>
          </a:prstGeom>
        </p:spPr>
      </p:pic>
      <p:sp>
        <p:nvSpPr>
          <p:cNvPr id="10" name="Rectangle 54"/>
          <p:cNvSpPr>
            <a:spLocks noGrp="1" noChangeArrowheads="1"/>
          </p:cNvSpPr>
          <p:nvPr>
            <p:ph type="subTitle" idx="1"/>
          </p:nvPr>
        </p:nvSpPr>
        <p:spPr>
          <a:xfrm>
            <a:off x="609600" y="4041650"/>
            <a:ext cx="5181600" cy="1120775"/>
          </a:xfrm>
        </p:spPr>
        <p:txBody>
          <a:bodyPr/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294B36-D511-4E23-A768-EAFA149B5CC7}"/>
              </a:ext>
            </a:extLst>
          </p:cNvPr>
          <p:cNvSpPr/>
          <p:nvPr userDrawn="1"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B42F6D-719A-45C6-BB57-84887368226C}"/>
              </a:ext>
            </a:extLst>
          </p:cNvPr>
          <p:cNvCxnSpPr/>
          <p:nvPr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" name="Rectangle 55">
            <a:extLst>
              <a:ext uri="{FF2B5EF4-FFF2-40B4-BE49-F238E27FC236}">
                <a16:creationId xmlns:a16="http://schemas.microsoft.com/office/drawing/2014/main" id="{078B106A-3121-420B-B2D9-854FF204BD0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invGray">
          <a:xfrm>
            <a:off x="609600" y="1600200"/>
            <a:ext cx="11264901" cy="2057400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rgbClr val="4555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2C404A3-49E3-6AE3-6316-79D1DE70A5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6132" y="244938"/>
            <a:ext cx="1681179" cy="89662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ACD6CB8-625C-44F5-9B90-77A60BCC4A2E}"/>
              </a:ext>
            </a:extLst>
          </p:cNvPr>
          <p:cNvCxnSpPr/>
          <p:nvPr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3650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576354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and Content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778E9B7-4949-28BD-165C-8A19BAED805F}"/>
              </a:ext>
            </a:extLst>
          </p:cNvPr>
          <p:cNvGrpSpPr/>
          <p:nvPr userDrawn="1"/>
        </p:nvGrpSpPr>
        <p:grpSpPr>
          <a:xfrm>
            <a:off x="8869472" y="6298815"/>
            <a:ext cx="2877113" cy="394353"/>
            <a:chOff x="8869472" y="6298815"/>
            <a:chExt cx="2877113" cy="394353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E6E1A95-6077-6510-20C5-471AD5466E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007173" y="6298815"/>
              <a:ext cx="739412" cy="394353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C6C0729-2E40-00EB-212A-99D70594C8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69472" y="6375841"/>
              <a:ext cx="215905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altLang="en-US" sz="1200" b="0">
                  <a:solidFill>
                    <a:srgbClr val="455560"/>
                  </a:solidFill>
                  <a:latin typeface="Calibri" panose="020F0502020204030204" pitchFamily="34" charset="0"/>
                </a:rPr>
                <a:t>Slide credit: </a:t>
              </a:r>
              <a:r>
                <a:rPr lang="en-US" altLang="en-US" sz="1200" b="0">
                  <a:solidFill>
                    <a:schemeClr val="bg2"/>
                  </a:solidFill>
                  <a:latin typeface="Calibri" panose="020F0502020204030204" pitchFamily="34" charset="0"/>
                  <a:hlinkClick r:id="rId3"/>
                </a:rPr>
                <a:t>clinicaloptions.com</a:t>
              </a:r>
              <a:endParaRPr lang="en-US" altLang="en-US" sz="1200" b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8561287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2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4000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8F8BDA-1A03-445B-A76B-525DE8317C18}"/>
              </a:ext>
            </a:extLst>
          </p:cNvPr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FA01F1A-8AE6-48F9-95F4-73790D6CA686}"/>
              </a:ext>
            </a:extLst>
          </p:cNvPr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F47D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41A963A4-9BB1-F8FF-4636-271CB68984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67636" y="5397632"/>
            <a:ext cx="1790865" cy="955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17921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7946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806452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1_Two Content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7946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82E1199-B50F-0114-1C29-82C8B63ED0EB}"/>
              </a:ext>
            </a:extLst>
          </p:cNvPr>
          <p:cNvGrpSpPr/>
          <p:nvPr userDrawn="1"/>
        </p:nvGrpSpPr>
        <p:grpSpPr>
          <a:xfrm>
            <a:off x="8869472" y="6298815"/>
            <a:ext cx="2877113" cy="394353"/>
            <a:chOff x="8869472" y="6298815"/>
            <a:chExt cx="2877113" cy="394353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F4C4F00-A86F-1C51-F733-91E92FCA18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007173" y="6298815"/>
              <a:ext cx="739412" cy="394353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20CF191-AD96-1DB9-DF2E-4B2B4833E8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69472" y="6375841"/>
              <a:ext cx="215905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altLang="en-US" sz="1200" b="0">
                  <a:solidFill>
                    <a:srgbClr val="455560"/>
                  </a:solidFill>
                  <a:latin typeface="Calibri" panose="020F0502020204030204" pitchFamily="34" charset="0"/>
                </a:rPr>
                <a:t>Slide credit: </a:t>
              </a:r>
              <a:r>
                <a:rPr lang="en-US" altLang="en-US" sz="1200" b="0">
                  <a:solidFill>
                    <a:schemeClr val="bg2"/>
                  </a:solidFill>
                  <a:latin typeface="Calibri" panose="020F0502020204030204" pitchFamily="34" charset="0"/>
                  <a:hlinkClick r:id="rId3"/>
                </a:rPr>
                <a:t>clinicaloptions.com</a:t>
              </a:r>
              <a:endParaRPr lang="en-US" altLang="en-US" sz="1200" b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246352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6574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1166328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, Text and Chart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6574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FB0C27F-8158-D95C-0270-6C5A18C09C1F}"/>
              </a:ext>
            </a:extLst>
          </p:cNvPr>
          <p:cNvGrpSpPr/>
          <p:nvPr userDrawn="1"/>
        </p:nvGrpSpPr>
        <p:grpSpPr>
          <a:xfrm>
            <a:off x="8869472" y="6298815"/>
            <a:ext cx="2877113" cy="394353"/>
            <a:chOff x="8869472" y="6298815"/>
            <a:chExt cx="2877113" cy="394353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E1715040-51BB-5EAD-7551-4E1CFE3430F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007173" y="6298815"/>
              <a:ext cx="739412" cy="394353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850B323-4A45-FF99-0514-1788CD0017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69472" y="6375841"/>
              <a:ext cx="215905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altLang="en-US" sz="1200" b="0">
                  <a:solidFill>
                    <a:srgbClr val="455560"/>
                  </a:solidFill>
                  <a:latin typeface="Calibri" panose="020F0502020204030204" pitchFamily="34" charset="0"/>
                </a:rPr>
                <a:t>Slide credit: </a:t>
              </a:r>
              <a:r>
                <a:rPr lang="en-US" altLang="en-US" sz="1200" b="0">
                  <a:solidFill>
                    <a:schemeClr val="bg2"/>
                  </a:solidFill>
                  <a:latin typeface="Calibri" panose="020F0502020204030204" pitchFamily="34" charset="0"/>
                  <a:hlinkClick r:id="rId3"/>
                </a:rPr>
                <a:t>clinicaloptions.com</a:t>
              </a:r>
              <a:endParaRPr lang="en-US" altLang="en-US" sz="1200" b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526654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9719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1_Title Only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1FCB4C5-8216-244E-3D93-41E212F40457}"/>
              </a:ext>
            </a:extLst>
          </p:cNvPr>
          <p:cNvGrpSpPr/>
          <p:nvPr userDrawn="1"/>
        </p:nvGrpSpPr>
        <p:grpSpPr>
          <a:xfrm>
            <a:off x="8869472" y="6298815"/>
            <a:ext cx="2877113" cy="394353"/>
            <a:chOff x="8869472" y="6298815"/>
            <a:chExt cx="2877113" cy="394353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7CB3AFF3-C9AF-6406-A52C-986F17667A3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007173" y="6298815"/>
              <a:ext cx="739412" cy="394353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8BE472F0-4C6A-6FBF-3D23-4A0861C314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69472" y="6375841"/>
              <a:ext cx="215905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altLang="en-US" sz="1200" b="0">
                  <a:solidFill>
                    <a:srgbClr val="455560"/>
                  </a:solidFill>
                  <a:latin typeface="Calibri" panose="020F0502020204030204" pitchFamily="34" charset="0"/>
                </a:rPr>
                <a:t>Slide credit: </a:t>
              </a:r>
              <a:r>
                <a:rPr lang="en-US" altLang="en-US" sz="1200" b="0">
                  <a:solidFill>
                    <a:schemeClr val="bg2"/>
                  </a:solidFill>
                  <a:latin typeface="Calibri" panose="020F0502020204030204" pitchFamily="34" charset="0"/>
                  <a:hlinkClick r:id="rId3"/>
                </a:rPr>
                <a:t>clinicaloptions.com</a:t>
              </a:r>
              <a:endParaRPr lang="en-US" altLang="en-US" sz="1200" b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63316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368" y="627068"/>
            <a:ext cx="11474451" cy="12604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4750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028943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03A659D-6BF1-8E0D-2D7B-19BCEFEA43F4}"/>
              </a:ext>
            </a:extLst>
          </p:cNvPr>
          <p:cNvGrpSpPr/>
          <p:nvPr userDrawn="1"/>
        </p:nvGrpSpPr>
        <p:grpSpPr>
          <a:xfrm>
            <a:off x="8869472" y="6298815"/>
            <a:ext cx="2877113" cy="394353"/>
            <a:chOff x="8869472" y="6298815"/>
            <a:chExt cx="2877113" cy="39435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35B2744-BE30-7F59-641C-E8EE271BFEC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007173" y="6298815"/>
              <a:ext cx="739412" cy="394353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E061F54A-476D-1E85-D460-3390FD4976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69472" y="6375841"/>
              <a:ext cx="2159053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Wingdings" panose="05000000000000000000" pitchFamily="2" charset="2"/>
                <a:buChar char="§"/>
                <a:defRPr sz="2800">
                  <a:solidFill>
                    <a:srgbClr val="FEFDDE"/>
                  </a:solidFill>
                  <a:latin typeface="Arial" panose="020B060402020202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600">
                  <a:solidFill>
                    <a:srgbClr val="FEFDDE"/>
                  </a:solidFill>
                  <a:latin typeface="Arial" panose="020B060402020202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400">
                  <a:solidFill>
                    <a:srgbClr val="FEFDDE"/>
                  </a:solidFill>
                  <a:latin typeface="Arial" panose="020B060402020202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200">
                  <a:solidFill>
                    <a:srgbClr val="FEFDDE"/>
                  </a:solidFill>
                  <a:latin typeface="Arial" panose="020B060402020202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000"/>
                </a:spcBef>
                <a:spcAft>
                  <a:spcPts val="700"/>
                </a:spcAft>
                <a:buClr>
                  <a:srgbClr val="FEFDDE"/>
                </a:buClr>
                <a:buFont typeface="Arial" panose="020B0604020202020204" pitchFamily="34" charset="0"/>
                <a:buChar char="–"/>
                <a:defRPr sz="2000">
                  <a:solidFill>
                    <a:srgbClr val="FEFDDE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en-US" altLang="en-US" sz="1200" b="0">
                  <a:solidFill>
                    <a:srgbClr val="455560"/>
                  </a:solidFill>
                  <a:latin typeface="Calibri" panose="020F0502020204030204" pitchFamily="34" charset="0"/>
                </a:rPr>
                <a:t>Slide credit: </a:t>
              </a:r>
              <a:r>
                <a:rPr lang="en-US" altLang="en-US" sz="1200" b="0">
                  <a:solidFill>
                    <a:schemeClr val="bg2"/>
                  </a:solidFill>
                  <a:latin typeface="Calibri" panose="020F0502020204030204" pitchFamily="34" charset="0"/>
                  <a:hlinkClick r:id="rId3"/>
                </a:rPr>
                <a:t>clinicaloptions.com</a:t>
              </a:r>
              <a:endParaRPr lang="en-US" altLang="en-US" sz="1200" b="0">
                <a:solidFill>
                  <a:schemeClr val="bg2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639630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84" y="239715"/>
            <a:ext cx="11244016" cy="1674813"/>
          </a:xfrm>
          <a:prstGeom prst="rect">
            <a:avLst/>
          </a:prstGeom>
        </p:spPr>
        <p:txBody>
          <a:bodyPr/>
          <a:lstStyle>
            <a:lvl1pPr algn="ctr">
              <a:defRPr sz="39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9759" y="1895477"/>
            <a:ext cx="10872444" cy="260571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1">
                <a:solidFill>
                  <a:schemeClr val="bg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FB50470-EA3D-49B4-8F28-4C9C1E0D226A}"/>
              </a:ext>
            </a:extLst>
          </p:cNvPr>
          <p:cNvCxnSpPr/>
          <p:nvPr userDrawn="1"/>
        </p:nvCxnSpPr>
        <p:spPr bwMode="auto">
          <a:xfrm>
            <a:off x="-22231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DF9EACC2-568A-498C-8601-A87328BD11D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14351" y="4856674"/>
            <a:ext cx="11283950" cy="115593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400" b="1">
                <a:solidFill>
                  <a:srgbClr val="E1471D"/>
                </a:solidFill>
              </a:defRPr>
            </a:lvl1pPr>
            <a:lvl2pPr>
              <a:buFontTx/>
              <a:buNone/>
              <a:defRPr sz="2400"/>
            </a:lvl2pPr>
            <a:lvl3pPr>
              <a:buFontTx/>
              <a:buNone/>
              <a:defRPr sz="2400"/>
            </a:lvl3pPr>
            <a:lvl4pPr>
              <a:buFontTx/>
              <a:buNone/>
              <a:defRPr sz="2400"/>
            </a:lvl4pPr>
            <a:lvl5pPr>
              <a:buFontTx/>
              <a:buNone/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BBD1E00-A2D3-4202-961C-9DF3DF2683C9}"/>
              </a:ext>
            </a:extLst>
          </p:cNvPr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590A4E9-08A7-4826-8D90-46B546D1F341}"/>
              </a:ext>
            </a:extLst>
          </p:cNvPr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F47D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E31A8939-5D7B-DDA0-442D-AFC6D9C41D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67636" y="5397632"/>
            <a:ext cx="1790865" cy="955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42702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7124E396-1557-6C45-BE56-AF3092013C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42" b="42"/>
          <a:stretch/>
        </p:blipFill>
        <p:spPr>
          <a:xfrm>
            <a:off x="4583672" y="722287"/>
            <a:ext cx="7620680" cy="5482227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C8FC7A-7E14-E049-B11F-D356A8C7FA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D1FC7F4-57E3-A34A-B90A-7BE999FC9758}" type="datetimeFigureOut">
              <a:rPr lang="aa-ET" smtClean="0"/>
              <a:t>5/12/25</a:t>
            </a:fld>
            <a:endParaRPr lang="aa-E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FF3217-D65B-7C4F-9214-B883A64C4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aa-E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3A6E6B-025B-2F41-ACBB-F7B857D06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1382322-67A6-0442-9516-60E1168A043D}" type="slidenum">
              <a:rPr lang="aa-ET" smtClean="0"/>
              <a:t>‹#›</a:t>
            </a:fld>
            <a:endParaRPr lang="aa-ET"/>
          </a:p>
        </p:txBody>
      </p:sp>
      <p:sp>
        <p:nvSpPr>
          <p:cNvPr id="8" name="bg object 17">
            <a:extLst>
              <a:ext uri="{FF2B5EF4-FFF2-40B4-BE49-F238E27FC236}">
                <a16:creationId xmlns:a16="http://schemas.microsoft.com/office/drawing/2014/main" id="{C18A2F94-54A2-A743-9F98-A148DC464C58}"/>
              </a:ext>
            </a:extLst>
          </p:cNvPr>
          <p:cNvSpPr/>
          <p:nvPr userDrawn="1"/>
        </p:nvSpPr>
        <p:spPr>
          <a:xfrm>
            <a:off x="1" y="0"/>
            <a:ext cx="7083425" cy="6858000"/>
          </a:xfrm>
          <a:custGeom>
            <a:avLst/>
            <a:gdLst/>
            <a:ahLst/>
            <a:cxnLst/>
            <a:rect l="l" t="t" r="r" b="b"/>
            <a:pathLst>
              <a:path w="7083425" h="6858000">
                <a:moveTo>
                  <a:pt x="7083082" y="0"/>
                </a:moveTo>
                <a:lnTo>
                  <a:pt x="5436476" y="0"/>
                </a:lnTo>
                <a:lnTo>
                  <a:pt x="0" y="3505"/>
                </a:lnTo>
                <a:lnTo>
                  <a:pt x="0" y="6858000"/>
                </a:lnTo>
                <a:lnTo>
                  <a:pt x="4741938" y="6858000"/>
                </a:lnTo>
                <a:lnTo>
                  <a:pt x="7083082" y="0"/>
                </a:lnTo>
                <a:close/>
              </a:path>
            </a:pathLst>
          </a:custGeom>
          <a:solidFill>
            <a:srgbClr val="005193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9" name="bg object 19">
            <a:extLst>
              <a:ext uri="{FF2B5EF4-FFF2-40B4-BE49-F238E27FC236}">
                <a16:creationId xmlns:a16="http://schemas.microsoft.com/office/drawing/2014/main" id="{5CE3A3CB-36CC-014B-8861-E4FF3B8F6C3C}"/>
              </a:ext>
            </a:extLst>
          </p:cNvPr>
          <p:cNvSpPr/>
          <p:nvPr userDrawn="1"/>
        </p:nvSpPr>
        <p:spPr>
          <a:xfrm>
            <a:off x="1" y="6204343"/>
            <a:ext cx="12193271" cy="654050"/>
          </a:xfrm>
          <a:custGeom>
            <a:avLst/>
            <a:gdLst/>
            <a:ahLst/>
            <a:cxnLst/>
            <a:rect l="l" t="t" r="r" b="b"/>
            <a:pathLst>
              <a:path w="12193270" h="654050">
                <a:moveTo>
                  <a:pt x="12193206" y="0"/>
                </a:moveTo>
                <a:lnTo>
                  <a:pt x="0" y="0"/>
                </a:lnTo>
                <a:lnTo>
                  <a:pt x="0" y="653656"/>
                </a:lnTo>
                <a:lnTo>
                  <a:pt x="12193206" y="653656"/>
                </a:lnTo>
                <a:lnTo>
                  <a:pt x="1219320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41344BAE-B116-B346-9A99-DA8EFB937555}"/>
              </a:ext>
            </a:extLst>
          </p:cNvPr>
          <p:cNvSpPr txBox="1"/>
          <p:nvPr userDrawn="1"/>
        </p:nvSpPr>
        <p:spPr>
          <a:xfrm>
            <a:off x="457202" y="6396090"/>
            <a:ext cx="1036319" cy="2430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500" b="1" spc="-5" dirty="0">
                <a:solidFill>
                  <a:srgbClr val="005193"/>
                </a:solidFill>
                <a:latin typeface="DIN"/>
                <a:cs typeface="DIN"/>
              </a:rPr>
              <a:t>eha</a:t>
            </a:r>
            <a:r>
              <a:rPr sz="1500" b="1" spc="-20" dirty="0">
                <a:solidFill>
                  <a:srgbClr val="005193"/>
                </a:solidFill>
                <a:latin typeface="DIN"/>
                <a:cs typeface="DIN"/>
              </a:rPr>
              <a:t>w</a:t>
            </a:r>
            <a:r>
              <a:rPr sz="1500" b="1" spc="-5" dirty="0">
                <a:solidFill>
                  <a:srgbClr val="005193"/>
                </a:solidFill>
                <a:latin typeface="DIN"/>
                <a:cs typeface="DIN"/>
              </a:rPr>
              <a:t>eb.o</a:t>
            </a:r>
            <a:r>
              <a:rPr sz="1500" b="1" spc="-55" dirty="0">
                <a:solidFill>
                  <a:srgbClr val="005193"/>
                </a:solidFill>
                <a:latin typeface="DIN"/>
                <a:cs typeface="DIN"/>
              </a:rPr>
              <a:t>r</a:t>
            </a:r>
            <a:r>
              <a:rPr sz="1500" b="1" spc="-5" dirty="0">
                <a:solidFill>
                  <a:srgbClr val="005193"/>
                </a:solidFill>
                <a:latin typeface="DIN"/>
                <a:cs typeface="DIN"/>
              </a:rPr>
              <a:t>g</a:t>
            </a:r>
            <a:endParaRPr sz="1500" dirty="0">
              <a:latin typeface="DIN"/>
              <a:cs typeface="DIN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4C429CA-CDAD-6043-ABCF-64F839F939F8}"/>
              </a:ext>
            </a:extLst>
          </p:cNvPr>
          <p:cNvGrpSpPr/>
          <p:nvPr userDrawn="1"/>
        </p:nvGrpSpPr>
        <p:grpSpPr>
          <a:xfrm>
            <a:off x="1" y="2"/>
            <a:ext cx="2805431" cy="1307465"/>
            <a:chOff x="0" y="0"/>
            <a:chExt cx="2805430" cy="1307465"/>
          </a:xfrm>
        </p:grpSpPr>
        <p:sp>
          <p:nvSpPr>
            <p:cNvPr id="13" name="object 766">
              <a:extLst>
                <a:ext uri="{FF2B5EF4-FFF2-40B4-BE49-F238E27FC236}">
                  <a16:creationId xmlns:a16="http://schemas.microsoft.com/office/drawing/2014/main" id="{FE425F61-E7A4-5741-94F1-018C22E84BB3}"/>
                </a:ext>
              </a:extLst>
            </p:cNvPr>
            <p:cNvSpPr/>
            <p:nvPr/>
          </p:nvSpPr>
          <p:spPr>
            <a:xfrm>
              <a:off x="0" y="0"/>
              <a:ext cx="2805430" cy="1307465"/>
            </a:xfrm>
            <a:custGeom>
              <a:avLst/>
              <a:gdLst/>
              <a:ahLst/>
              <a:cxnLst/>
              <a:rect l="l" t="t" r="r" b="b"/>
              <a:pathLst>
                <a:path w="2805430" h="1307465">
                  <a:moveTo>
                    <a:pt x="2805036" y="0"/>
                  </a:moveTo>
                  <a:lnTo>
                    <a:pt x="0" y="0"/>
                  </a:lnTo>
                  <a:lnTo>
                    <a:pt x="0" y="1307312"/>
                  </a:lnTo>
                  <a:lnTo>
                    <a:pt x="2367826" y="1307312"/>
                  </a:lnTo>
                  <a:lnTo>
                    <a:pt x="280503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pic>
          <p:nvPicPr>
            <p:cNvPr id="14" name="Picture 13" descr="Graphical user interface, application&#10;&#10;Description automatically generated">
              <a:extLst>
                <a:ext uri="{FF2B5EF4-FFF2-40B4-BE49-F238E27FC236}">
                  <a16:creationId xmlns:a16="http://schemas.microsoft.com/office/drawing/2014/main" id="{F3EAADC2-DA55-884B-BBFC-8A16285978C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4840" y="259581"/>
              <a:ext cx="1844960" cy="848525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AAAD549-3870-0644-BF43-C1BDE847D33F}"/>
              </a:ext>
            </a:extLst>
          </p:cNvPr>
          <p:cNvGrpSpPr/>
          <p:nvPr userDrawn="1"/>
        </p:nvGrpSpPr>
        <p:grpSpPr>
          <a:xfrm>
            <a:off x="2514600" y="2"/>
            <a:ext cx="9344901" cy="1877695"/>
            <a:chOff x="2514600" y="0"/>
            <a:chExt cx="9344901" cy="1877695"/>
          </a:xfrm>
        </p:grpSpPr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D7C8CA96-0642-9D47-8351-E69F8C11120B}"/>
                </a:ext>
              </a:extLst>
            </p:cNvPr>
            <p:cNvSpPr/>
            <p:nvPr/>
          </p:nvSpPr>
          <p:spPr>
            <a:xfrm>
              <a:off x="2514600" y="0"/>
              <a:ext cx="4113431" cy="1877695"/>
            </a:xfrm>
            <a:custGeom>
              <a:avLst/>
              <a:gdLst/>
              <a:ahLst/>
              <a:cxnLst/>
              <a:rect l="l" t="t" r="r" b="b"/>
              <a:pathLst>
                <a:path w="4320540" h="1877695">
                  <a:moveTo>
                    <a:pt x="447154" y="0"/>
                  </a:moveTo>
                  <a:lnTo>
                    <a:pt x="0" y="1320165"/>
                  </a:lnTo>
                  <a:lnTo>
                    <a:pt x="2029688" y="808926"/>
                  </a:lnTo>
                  <a:lnTo>
                    <a:pt x="4320006" y="1307325"/>
                  </a:lnTo>
                  <a:lnTo>
                    <a:pt x="3380397" y="1877402"/>
                  </a:lnTo>
                  <a:lnTo>
                    <a:pt x="2041372" y="808926"/>
                  </a:lnTo>
                </a:path>
              </a:pathLst>
            </a:custGeom>
            <a:ln w="1681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17" name="object 10">
              <a:extLst>
                <a:ext uri="{FF2B5EF4-FFF2-40B4-BE49-F238E27FC236}">
                  <a16:creationId xmlns:a16="http://schemas.microsoft.com/office/drawing/2014/main" id="{412073E2-C74B-674C-8ABF-0F8CD9102FE6}"/>
                </a:ext>
              </a:extLst>
            </p:cNvPr>
            <p:cNvSpPr/>
            <p:nvPr/>
          </p:nvSpPr>
          <p:spPr>
            <a:xfrm>
              <a:off x="6635676" y="650985"/>
              <a:ext cx="5223825" cy="1047115"/>
            </a:xfrm>
            <a:custGeom>
              <a:avLst/>
              <a:gdLst/>
              <a:ahLst/>
              <a:cxnLst/>
              <a:rect l="l" t="t" r="r" b="b"/>
              <a:pathLst>
                <a:path w="5290820" h="1047114">
                  <a:moveTo>
                    <a:pt x="0" y="660488"/>
                  </a:moveTo>
                  <a:lnTo>
                    <a:pt x="2037295" y="803465"/>
                  </a:lnTo>
                  <a:lnTo>
                    <a:pt x="3479431" y="0"/>
                  </a:lnTo>
                  <a:lnTo>
                    <a:pt x="4570564" y="1046530"/>
                  </a:lnTo>
                  <a:lnTo>
                    <a:pt x="5290223" y="279209"/>
                  </a:lnTo>
                  <a:lnTo>
                    <a:pt x="3479431" y="0"/>
                  </a:lnTo>
                </a:path>
              </a:pathLst>
            </a:custGeom>
            <a:ln w="16814">
              <a:solidFill>
                <a:srgbClr val="005193"/>
              </a:solidFill>
            </a:ln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18" name="object 12">
              <a:extLst>
                <a:ext uri="{FF2B5EF4-FFF2-40B4-BE49-F238E27FC236}">
                  <a16:creationId xmlns:a16="http://schemas.microsoft.com/office/drawing/2014/main" id="{46D75527-D65F-914C-919F-4DE488B7A3F7}"/>
                </a:ext>
              </a:extLst>
            </p:cNvPr>
            <p:cNvSpPr/>
            <p:nvPr/>
          </p:nvSpPr>
          <p:spPr>
            <a:xfrm>
              <a:off x="6464630" y="1454447"/>
              <a:ext cx="4689029" cy="314325"/>
            </a:xfrm>
            <a:custGeom>
              <a:avLst/>
              <a:gdLst/>
              <a:ahLst/>
              <a:cxnLst/>
              <a:rect l="l" t="t" r="r" b="b"/>
              <a:pathLst>
                <a:path w="4749165" h="314325">
                  <a:moveTo>
                    <a:pt x="0" y="313918"/>
                  </a:moveTo>
                  <a:lnTo>
                    <a:pt x="2210536" y="0"/>
                  </a:lnTo>
                  <a:lnTo>
                    <a:pt x="4748568" y="243065"/>
                  </a:lnTo>
                </a:path>
              </a:pathLst>
            </a:custGeom>
            <a:ln w="16814">
              <a:solidFill>
                <a:srgbClr val="005193"/>
              </a:solidFill>
            </a:ln>
          </p:spPr>
          <p:txBody>
            <a:bodyPr wrap="square" lIns="0" tIns="0" rIns="0" bIns="0" rtlCol="0"/>
            <a:lstStyle/>
            <a:p>
              <a:endParaRPr sz="1800"/>
            </a:p>
          </p:txBody>
        </p:sp>
        <p:sp>
          <p:nvSpPr>
            <p:cNvPr id="19" name="object 11">
              <a:extLst>
                <a:ext uri="{FF2B5EF4-FFF2-40B4-BE49-F238E27FC236}">
                  <a16:creationId xmlns:a16="http://schemas.microsoft.com/office/drawing/2014/main" id="{32C29DE7-4EA4-1646-9912-3A14B2274E5C}"/>
                </a:ext>
              </a:extLst>
            </p:cNvPr>
            <p:cNvSpPr/>
            <p:nvPr userDrawn="1"/>
          </p:nvSpPr>
          <p:spPr>
            <a:xfrm>
              <a:off x="5727371" y="1768363"/>
              <a:ext cx="744579" cy="109332"/>
            </a:xfrm>
            <a:custGeom>
              <a:avLst/>
              <a:gdLst/>
              <a:ahLst/>
              <a:cxnLst/>
              <a:rect l="l" t="t" r="r" b="b"/>
              <a:pathLst>
                <a:path w="768350" h="109219">
                  <a:moveTo>
                    <a:pt x="0" y="109067"/>
                  </a:moveTo>
                  <a:lnTo>
                    <a:pt x="768045" y="0"/>
                  </a:lnTo>
                </a:path>
              </a:pathLst>
            </a:custGeom>
            <a:ln w="1681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800"/>
            </a:p>
          </p:txBody>
        </p:sp>
      </p:grpSp>
      <p:sp>
        <p:nvSpPr>
          <p:cNvPr id="21" name="object 6">
            <a:extLst>
              <a:ext uri="{FF2B5EF4-FFF2-40B4-BE49-F238E27FC236}">
                <a16:creationId xmlns:a16="http://schemas.microsoft.com/office/drawing/2014/main" id="{D07B8ABF-F745-214E-81FB-58DCE8691B09}"/>
              </a:ext>
            </a:extLst>
          </p:cNvPr>
          <p:cNvSpPr/>
          <p:nvPr userDrawn="1"/>
        </p:nvSpPr>
        <p:spPr>
          <a:xfrm>
            <a:off x="9932816" y="6204343"/>
            <a:ext cx="2260600" cy="654050"/>
          </a:xfrm>
          <a:custGeom>
            <a:avLst/>
            <a:gdLst/>
            <a:ahLst/>
            <a:cxnLst/>
            <a:rect l="l" t="t" r="r" b="b"/>
            <a:pathLst>
              <a:path w="2260600" h="654050">
                <a:moveTo>
                  <a:pt x="2260384" y="0"/>
                </a:moveTo>
                <a:lnTo>
                  <a:pt x="221653" y="0"/>
                </a:lnTo>
                <a:lnTo>
                  <a:pt x="0" y="653656"/>
                </a:lnTo>
                <a:lnTo>
                  <a:pt x="2260384" y="653656"/>
                </a:lnTo>
                <a:lnTo>
                  <a:pt x="2260384" y="0"/>
                </a:lnTo>
                <a:close/>
              </a:path>
            </a:pathLst>
          </a:custGeom>
          <a:solidFill>
            <a:srgbClr val="8136CE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99636EB-4716-0A44-B05E-5C052E923BE6}"/>
              </a:ext>
            </a:extLst>
          </p:cNvPr>
          <p:cNvSpPr txBox="1"/>
          <p:nvPr userDrawn="1"/>
        </p:nvSpPr>
        <p:spPr>
          <a:xfrm>
            <a:off x="10210800" y="6327363"/>
            <a:ext cx="19811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spc="20" dirty="0">
                <a:solidFill>
                  <a:schemeClr val="bg1"/>
                </a:solidFill>
                <a:latin typeface="+mn-lt"/>
              </a:rPr>
              <a:t>WOR</a:t>
            </a:r>
            <a:r>
              <a:rPr lang="en-GB" sz="2000" b="1" spc="-20" dirty="0">
                <a:solidFill>
                  <a:schemeClr val="bg1"/>
                </a:solidFill>
                <a:latin typeface="+mn-lt"/>
              </a:rPr>
              <a:t>K</a:t>
            </a:r>
            <a:r>
              <a:rPr lang="en-GB" sz="2000" b="1" spc="20" dirty="0">
                <a:solidFill>
                  <a:schemeClr val="bg1"/>
                </a:solidFill>
                <a:latin typeface="+mn-lt"/>
              </a:rPr>
              <a:t>SHOP</a:t>
            </a:r>
          </a:p>
        </p:txBody>
      </p:sp>
    </p:spTree>
    <p:extLst>
      <p:ext uri="{BB962C8B-B14F-4D97-AF65-F5344CB8AC3E}">
        <p14:creationId xmlns:p14="http://schemas.microsoft.com/office/powerpoint/2010/main" val="82834341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817F1ED-7A6F-7C4F-ABF5-D4DE425ABE0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D1FC7F4-57E3-A34A-B90A-7BE999FC9758}" type="datetimeFigureOut">
              <a:rPr lang="aa-ET" smtClean="0"/>
              <a:t>5/12/25</a:t>
            </a:fld>
            <a:endParaRPr lang="aa-E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600015-E383-4D43-9BB8-F1B2DA63D3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aa-E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839552-FF79-C943-AC66-551BA99DD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1382322-67A6-0442-9516-60E1168A043D}" type="slidenum">
              <a:rPr lang="aa-ET" smtClean="0"/>
              <a:t>‹#›</a:t>
            </a:fld>
            <a:endParaRPr lang="aa-ET"/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4FBBE53B-F813-2D4B-9096-D804245BA65E}"/>
              </a:ext>
            </a:extLst>
          </p:cNvPr>
          <p:cNvSpPr/>
          <p:nvPr userDrawn="1"/>
        </p:nvSpPr>
        <p:spPr>
          <a:xfrm>
            <a:off x="1" y="0"/>
            <a:ext cx="12193271" cy="6858000"/>
          </a:xfrm>
          <a:custGeom>
            <a:avLst/>
            <a:gdLst/>
            <a:ahLst/>
            <a:cxnLst/>
            <a:rect l="l" t="t" r="r" b="b"/>
            <a:pathLst>
              <a:path w="12193270" h="6858000">
                <a:moveTo>
                  <a:pt x="12193206" y="0"/>
                </a:moveTo>
                <a:lnTo>
                  <a:pt x="0" y="0"/>
                </a:lnTo>
                <a:lnTo>
                  <a:pt x="0" y="6858000"/>
                </a:lnTo>
                <a:lnTo>
                  <a:pt x="12193206" y="6858000"/>
                </a:lnTo>
                <a:lnTo>
                  <a:pt x="12193206" y="0"/>
                </a:lnTo>
                <a:close/>
              </a:path>
            </a:pathLst>
          </a:custGeom>
          <a:solidFill>
            <a:srgbClr val="D9E5E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DDD79578-70AB-EF4F-A384-B9E1B707A50F}"/>
              </a:ext>
            </a:extLst>
          </p:cNvPr>
          <p:cNvSpPr/>
          <p:nvPr userDrawn="1"/>
        </p:nvSpPr>
        <p:spPr>
          <a:xfrm>
            <a:off x="-1" y="6204341"/>
            <a:ext cx="12186285" cy="654050"/>
          </a:xfrm>
          <a:custGeom>
            <a:avLst/>
            <a:gdLst/>
            <a:ahLst/>
            <a:cxnLst/>
            <a:rect l="l" t="t" r="r" b="b"/>
            <a:pathLst>
              <a:path w="12186285" h="654050">
                <a:moveTo>
                  <a:pt x="12186005" y="0"/>
                </a:moveTo>
                <a:lnTo>
                  <a:pt x="221653" y="0"/>
                </a:lnTo>
                <a:lnTo>
                  <a:pt x="0" y="653656"/>
                </a:lnTo>
                <a:lnTo>
                  <a:pt x="12186005" y="653656"/>
                </a:lnTo>
                <a:lnTo>
                  <a:pt x="1218600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353B575-BD9A-8A4D-87DA-73DB9EC27F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035" y="6324602"/>
            <a:ext cx="875968" cy="40287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0E751E8-3D89-1948-A9C3-00034150585B}"/>
              </a:ext>
            </a:extLst>
          </p:cNvPr>
          <p:cNvSpPr txBox="1"/>
          <p:nvPr userDrawn="1"/>
        </p:nvSpPr>
        <p:spPr>
          <a:xfrm>
            <a:off x="10210800" y="6327362"/>
            <a:ext cx="19811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spc="20" dirty="0">
                <a:solidFill>
                  <a:schemeClr val="bg1"/>
                </a:solidFill>
                <a:latin typeface="+mn-lt"/>
              </a:rPr>
              <a:t>WOR</a:t>
            </a:r>
            <a:r>
              <a:rPr lang="en-GB" sz="2000" b="1" spc="-20" dirty="0">
                <a:solidFill>
                  <a:schemeClr val="bg1"/>
                </a:solidFill>
                <a:latin typeface="+mn-lt"/>
              </a:rPr>
              <a:t>K</a:t>
            </a:r>
            <a:r>
              <a:rPr lang="en-GB" sz="2000" b="1" spc="20" dirty="0">
                <a:solidFill>
                  <a:schemeClr val="bg1"/>
                </a:solidFill>
                <a:latin typeface="+mn-lt"/>
              </a:rPr>
              <a:t>SHOP</a:t>
            </a:r>
          </a:p>
        </p:txBody>
      </p:sp>
      <p:sp>
        <p:nvSpPr>
          <p:cNvPr id="10" name="object 6">
            <a:extLst>
              <a:ext uri="{FF2B5EF4-FFF2-40B4-BE49-F238E27FC236}">
                <a16:creationId xmlns:a16="http://schemas.microsoft.com/office/drawing/2014/main" id="{BF0C7DE7-689C-1243-BB20-E1B1BFDF80A7}"/>
              </a:ext>
            </a:extLst>
          </p:cNvPr>
          <p:cNvSpPr/>
          <p:nvPr userDrawn="1"/>
        </p:nvSpPr>
        <p:spPr>
          <a:xfrm>
            <a:off x="9932816" y="6204343"/>
            <a:ext cx="2260600" cy="654050"/>
          </a:xfrm>
          <a:custGeom>
            <a:avLst/>
            <a:gdLst/>
            <a:ahLst/>
            <a:cxnLst/>
            <a:rect l="l" t="t" r="r" b="b"/>
            <a:pathLst>
              <a:path w="2260600" h="654050">
                <a:moveTo>
                  <a:pt x="2260384" y="0"/>
                </a:moveTo>
                <a:lnTo>
                  <a:pt x="221653" y="0"/>
                </a:lnTo>
                <a:lnTo>
                  <a:pt x="0" y="653656"/>
                </a:lnTo>
                <a:lnTo>
                  <a:pt x="2260384" y="653656"/>
                </a:lnTo>
                <a:lnTo>
                  <a:pt x="2260384" y="0"/>
                </a:lnTo>
                <a:close/>
              </a:path>
            </a:pathLst>
          </a:custGeom>
          <a:solidFill>
            <a:srgbClr val="8136CE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1E9C604-5EB6-A347-829A-AA1A12632E52}"/>
              </a:ext>
            </a:extLst>
          </p:cNvPr>
          <p:cNvSpPr txBox="1"/>
          <p:nvPr userDrawn="1"/>
        </p:nvSpPr>
        <p:spPr>
          <a:xfrm>
            <a:off x="10210800" y="6327363"/>
            <a:ext cx="19811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spc="20" dirty="0">
                <a:solidFill>
                  <a:schemeClr val="bg1"/>
                </a:solidFill>
                <a:latin typeface="+mn-lt"/>
              </a:rPr>
              <a:t>WOR</a:t>
            </a:r>
            <a:r>
              <a:rPr lang="en-GB" sz="2000" b="1" spc="-20" dirty="0">
                <a:solidFill>
                  <a:schemeClr val="bg1"/>
                </a:solidFill>
                <a:latin typeface="+mn-lt"/>
              </a:rPr>
              <a:t>K</a:t>
            </a:r>
            <a:r>
              <a:rPr lang="en-GB" sz="2000" b="1" spc="20" dirty="0">
                <a:solidFill>
                  <a:schemeClr val="bg1"/>
                </a:solidFill>
                <a:latin typeface="+mn-lt"/>
              </a:rPr>
              <a:t>SHOP</a:t>
            </a:r>
          </a:p>
        </p:txBody>
      </p:sp>
    </p:spTree>
    <p:extLst>
      <p:ext uri="{BB962C8B-B14F-4D97-AF65-F5344CB8AC3E}">
        <p14:creationId xmlns:p14="http://schemas.microsoft.com/office/powerpoint/2010/main" val="281143918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764D54-B440-7B49-8324-69D784B0A8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12005"/>
            <a:ext cx="10515600" cy="435133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aa-ET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A31C3D-ED10-7849-B18A-6CFCE5C67C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D1FC7F4-57E3-A34A-B90A-7BE999FC9758}" type="datetimeFigureOut">
              <a:rPr lang="aa-ET" smtClean="0"/>
              <a:t>5/12/25</a:t>
            </a:fld>
            <a:endParaRPr lang="aa-E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B1C7D0-4579-D84B-9458-301F7DC575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aa-E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DB9CE3-246A-8B45-87F6-800E1DE13B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1382322-67A6-0442-9516-60E1168A043D}" type="slidenum">
              <a:rPr lang="aa-ET" smtClean="0"/>
              <a:t>‹#›</a:t>
            </a:fld>
            <a:endParaRPr lang="aa-ET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47F2A04-6406-F040-845B-87B4D1339B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3847"/>
            <a:ext cx="10515600" cy="60939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412434044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103312-DE5F-E543-80F5-4BF3222510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5181600" cy="402852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aa-E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63CF4E-CF51-8940-9059-DBC644883E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181600" cy="402852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aa-ET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E65170E-CB63-4E4A-AF87-698A2AA91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3847"/>
            <a:ext cx="10515600" cy="60939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70339258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A8EA49-DA94-A749-87DD-5E525455C9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FD31F4-E805-E044-B41E-4C665003BA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7"/>
            <a:ext cx="5157787" cy="3349073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aa-E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88C1A29-0D0F-EA47-8649-6E0E31873B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06592FF-B6BF-7842-93A0-B7E296DAA3E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7"/>
            <a:ext cx="5183188" cy="334907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aa-ET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170B229-5D29-AF47-B8F8-C2357E159D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3847"/>
            <a:ext cx="10515600" cy="60939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18490921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F878A-5DF5-0D40-83E9-0EA5836841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3847"/>
            <a:ext cx="10515600" cy="60939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118033719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8F5B8-7264-7E48-8C96-A3E35010F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653826"/>
            <a:ext cx="8811108" cy="443198"/>
          </a:xfrm>
          <a:prstGeom prst="rect">
            <a:avLst/>
          </a:prstGeom>
        </p:spPr>
        <p:txBody>
          <a:bodyPr anchor="t"/>
          <a:lstStyle>
            <a:lvl1pPr>
              <a:defRPr sz="3200"/>
            </a:lvl1pPr>
          </a:lstStyle>
          <a:p>
            <a:r>
              <a:rPr lang="en-GB" dirty="0"/>
              <a:t>Click to edit Master title style</a:t>
            </a:r>
            <a:endParaRPr lang="aa-E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5677CC-6B25-F14F-8579-DC6F1A19FF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540222"/>
            <a:ext cx="6172200" cy="38115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aa-E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7C0D7E-D1D7-A343-9BC3-9885C527BA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54022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D1E823-0CC1-794A-9020-B99D7339A66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D1FC7F4-57E3-A34A-B90A-7BE999FC9758}" type="datetimeFigureOut">
              <a:rPr lang="aa-ET" smtClean="0"/>
              <a:t>5/12/25</a:t>
            </a:fld>
            <a:endParaRPr lang="aa-E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4B3D8D-EA7B-9E40-85FF-48E60A2369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aa-E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490B32-ACF9-684E-B2F6-5B34EA0B9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1382322-67A6-0442-9516-60E1168A043D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27263293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227013"/>
            <a:ext cx="10358967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2286" y="1416053"/>
            <a:ext cx="10358967" cy="4799013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91921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87785-EEA6-0D46-918B-7C13A9FBBA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663765"/>
            <a:ext cx="3932237" cy="886397"/>
          </a:xfrm>
          <a:prstGeom prst="rect">
            <a:avLst/>
          </a:prstGeom>
        </p:spPr>
        <p:txBody>
          <a:bodyPr anchor="t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aa-ET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F3077A2-96F8-BD46-ACFF-98DA83F3344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663765"/>
            <a:ext cx="6172200" cy="5197287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aa-E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BE091C-AF71-B74F-9E19-35CC883D52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E5FFBD-261A-5C4C-A14D-270A0A795E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D1FC7F4-57E3-A34A-B90A-7BE999FC9758}" type="datetimeFigureOut">
              <a:rPr lang="aa-ET" smtClean="0"/>
              <a:t>5/12/25</a:t>
            </a:fld>
            <a:endParaRPr lang="aa-E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6AD444-BD62-4E4A-B642-C91E061B28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aa-E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38BAB3-404B-8F43-91B9-28A938302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1382322-67A6-0442-9516-60E1168A043D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18993117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 lang="aa-ET"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7006702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C3EA56-5111-4037-9D95-99472C98B37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819910" y="6343650"/>
            <a:ext cx="1129077" cy="2698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AF44B5-6D56-4B59-9C1D-2022F9BFF5DA}" type="datetime4">
              <a:rPr lang="en-GB" smtClean="0"/>
              <a:pPr/>
              <a:t>12 May 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CE7BCF-23E0-421B-8A21-1CDDB1673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1F21D1-F1DD-4945-8EF8-43393EDC3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7081B4C-D32C-E090-C7D3-FBAAFA418BB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F55D6BF-140C-7517-00E1-E063CA058B72}"/>
              </a:ext>
            </a:extLst>
          </p:cNvPr>
          <p:cNvSpPr/>
          <p:nvPr userDrawn="1"/>
        </p:nvSpPr>
        <p:spPr bwMode="auto">
          <a:xfrm>
            <a:off x="365125" y="390525"/>
            <a:ext cx="11460163" cy="5401875"/>
          </a:xfrm>
          <a:prstGeom prst="roundRect">
            <a:avLst>
              <a:gd name="adj" fmla="val 5953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267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892896-0027-443A-D01E-0CE282B3A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136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892896-0027-443A-D01E-0CE282B3A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4817268"/>
            <a:ext cx="1052195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ubtitle / presenter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4D693C-2F89-1D26-FDEF-3BF8AB9EE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6058694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1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EE2E33-B2AB-59FB-D2C0-47A2BAE82CA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5919" y="2367322"/>
            <a:ext cx="11460162" cy="1664875"/>
          </a:xfrm>
          <a:prstGeom prst="roundRect">
            <a:avLst>
              <a:gd name="adj" fmla="val 10618"/>
            </a:avLst>
          </a:prstGeom>
          <a:gradFill flip="none" rotWithShape="1">
            <a:gsLst>
              <a:gs pos="16000">
                <a:schemeClr val="tx2"/>
              </a:gs>
              <a:gs pos="55000">
                <a:srgbClr val="F8981B"/>
              </a:gs>
              <a:gs pos="35000">
                <a:srgbClr val="F98D15"/>
              </a:gs>
              <a:gs pos="99083">
                <a:srgbClr val="F26200"/>
              </a:gs>
              <a:gs pos="0">
                <a:schemeClr val="tx2">
                  <a:lumMod val="75000"/>
                </a:schemeClr>
              </a:gs>
              <a:gs pos="79000">
                <a:schemeClr val="tx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en-GB" sz="36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en-GB"/>
              <a:t>Click to enter presentation tit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7777690-7045-1FD0-C559-3D2F6FEAA72E}"/>
              </a:ext>
            </a:extLst>
          </p:cNvPr>
          <p:cNvGrpSpPr/>
          <p:nvPr userDrawn="1"/>
        </p:nvGrpSpPr>
        <p:grpSpPr>
          <a:xfrm rot="10800000" flipH="1" flipV="1">
            <a:off x="0" y="7938"/>
            <a:ext cx="5256621" cy="1351305"/>
            <a:chOff x="0" y="-7916"/>
            <a:chExt cx="18431747" cy="3773073"/>
          </a:xfrm>
        </p:grpSpPr>
        <p:sp>
          <p:nvSpPr>
            <p:cNvPr id="5" name="Rectangle 3">
              <a:extLst>
                <a:ext uri="{FF2B5EF4-FFF2-40B4-BE49-F238E27FC236}">
                  <a16:creationId xmlns:a16="http://schemas.microsoft.com/office/drawing/2014/main" id="{D34FB1E6-F4CE-E027-2C75-E240DFBEFE76}"/>
                </a:ext>
              </a:extLst>
            </p:cNvPr>
            <p:cNvSpPr/>
            <p:nvPr userDrawn="1"/>
          </p:nvSpPr>
          <p:spPr>
            <a:xfrm>
              <a:off x="1" y="-7916"/>
              <a:ext cx="18431746" cy="3773073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32CA1AA2-146B-339F-DE9A-F0415A3710DF}"/>
                </a:ext>
              </a:extLst>
            </p:cNvPr>
            <p:cNvSpPr/>
            <p:nvPr userDrawn="1"/>
          </p:nvSpPr>
          <p:spPr>
            <a:xfrm>
              <a:off x="0" y="-1505"/>
              <a:ext cx="18431746" cy="3275560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6000">
                  <a:schemeClr val="tx2"/>
                </a:gs>
                <a:gs pos="55000">
                  <a:srgbClr val="F8981B"/>
                </a:gs>
                <a:gs pos="35000">
                  <a:srgbClr val="F98D15"/>
                </a:gs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  <a:gs pos="79000">
                  <a:schemeClr val="tx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CE5A5CB-DEF8-6DE9-22DA-D842657A1893}"/>
              </a:ext>
            </a:extLst>
          </p:cNvPr>
          <p:cNvGrpSpPr/>
          <p:nvPr userDrawn="1"/>
        </p:nvGrpSpPr>
        <p:grpSpPr>
          <a:xfrm flipH="1" flipV="1">
            <a:off x="5256621" y="5272500"/>
            <a:ext cx="6935379" cy="1637476"/>
            <a:chOff x="0" y="-7916"/>
            <a:chExt cx="18431747" cy="3773073"/>
          </a:xfrm>
        </p:grpSpPr>
        <p:sp>
          <p:nvSpPr>
            <p:cNvPr id="14" name="Rectangle 3">
              <a:extLst>
                <a:ext uri="{FF2B5EF4-FFF2-40B4-BE49-F238E27FC236}">
                  <a16:creationId xmlns:a16="http://schemas.microsoft.com/office/drawing/2014/main" id="{88709F83-2848-E691-3C8D-C1D5FD6D27D0}"/>
                </a:ext>
              </a:extLst>
            </p:cNvPr>
            <p:cNvSpPr/>
            <p:nvPr userDrawn="1"/>
          </p:nvSpPr>
          <p:spPr>
            <a:xfrm>
              <a:off x="1" y="-7916"/>
              <a:ext cx="18431746" cy="3773073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  <p:sp>
          <p:nvSpPr>
            <p:cNvPr id="15" name="Rectangle 3">
              <a:extLst>
                <a:ext uri="{FF2B5EF4-FFF2-40B4-BE49-F238E27FC236}">
                  <a16:creationId xmlns:a16="http://schemas.microsoft.com/office/drawing/2014/main" id="{85D8089B-3A6B-8EE9-ECE4-B79E5C64EC66}"/>
                </a:ext>
              </a:extLst>
            </p:cNvPr>
            <p:cNvSpPr/>
            <p:nvPr userDrawn="1"/>
          </p:nvSpPr>
          <p:spPr>
            <a:xfrm>
              <a:off x="0" y="-1505"/>
              <a:ext cx="18431746" cy="3275560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6000">
                  <a:schemeClr val="tx2"/>
                </a:gs>
                <a:gs pos="55000">
                  <a:srgbClr val="F8981B"/>
                </a:gs>
                <a:gs pos="35000">
                  <a:srgbClr val="F98D15"/>
                </a:gs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  <a:gs pos="79000">
                  <a:schemeClr val="tx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196513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0D3666-6EB4-2815-6D2E-EFE946A218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4432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0D3666-6EB4-2815-6D2E-EFE946A21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4DF7007A-5965-5814-8FF8-29077566CB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5125" y="2100263"/>
            <a:ext cx="11460163" cy="2141007"/>
          </a:xfrm>
          <a:prstGeom prst="roundRect">
            <a:avLst>
              <a:gd name="adj" fmla="val 9014"/>
            </a:avLst>
          </a:prstGeom>
          <a:solidFill>
            <a:schemeClr val="bg1"/>
          </a:solidFill>
        </p:spPr>
        <p:txBody>
          <a:bodyPr vert="horz" anchor="ctr" anchorCtr="0">
            <a:noAutofit/>
          </a:bodyPr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6A64F09-F5D8-B6EE-7ED5-2B69A4668C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700" y="4487078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0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ubtitle / presenter name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46BF1C1D-BE11-327F-7D04-D4D8869EA6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6058694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1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insert dat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E4B634F-C493-1552-4BEE-EA026C7A7F94}"/>
              </a:ext>
            </a:extLst>
          </p:cNvPr>
          <p:cNvGrpSpPr/>
          <p:nvPr userDrawn="1"/>
        </p:nvGrpSpPr>
        <p:grpSpPr>
          <a:xfrm rot="10800000" flipH="1" flipV="1">
            <a:off x="0" y="-854"/>
            <a:ext cx="5256621" cy="1351305"/>
            <a:chOff x="0" y="-7916"/>
            <a:chExt cx="18431747" cy="377307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32B9BD3-3CA5-913F-EC24-A10E48F922A6}"/>
                </a:ext>
              </a:extLst>
            </p:cNvPr>
            <p:cNvSpPr/>
            <p:nvPr userDrawn="1"/>
          </p:nvSpPr>
          <p:spPr>
            <a:xfrm>
              <a:off x="1" y="-7916"/>
              <a:ext cx="18431746" cy="3773073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  <p:sp>
          <p:nvSpPr>
            <p:cNvPr id="6" name="Rectangle 3">
              <a:extLst>
                <a:ext uri="{FF2B5EF4-FFF2-40B4-BE49-F238E27FC236}">
                  <a16:creationId xmlns:a16="http://schemas.microsoft.com/office/drawing/2014/main" id="{72E01C79-6131-FC0A-7DF5-7B8AB37DA9A7}"/>
                </a:ext>
              </a:extLst>
            </p:cNvPr>
            <p:cNvSpPr/>
            <p:nvPr userDrawn="1"/>
          </p:nvSpPr>
          <p:spPr>
            <a:xfrm>
              <a:off x="0" y="-1505"/>
              <a:ext cx="18431746" cy="3275560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6000">
                  <a:schemeClr val="tx2"/>
                </a:gs>
                <a:gs pos="55000">
                  <a:srgbClr val="F8981B"/>
                </a:gs>
                <a:gs pos="35000">
                  <a:srgbClr val="F98D15"/>
                </a:gs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  <a:gs pos="79000">
                  <a:schemeClr val="tx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9D4DF5C-95C7-8539-5A40-557DBCA12799}"/>
              </a:ext>
            </a:extLst>
          </p:cNvPr>
          <p:cNvGrpSpPr/>
          <p:nvPr userDrawn="1"/>
        </p:nvGrpSpPr>
        <p:grpSpPr>
          <a:xfrm flipH="1" flipV="1">
            <a:off x="5256621" y="5272500"/>
            <a:ext cx="6935379" cy="1637476"/>
            <a:chOff x="0" y="-7916"/>
            <a:chExt cx="18431747" cy="3773073"/>
          </a:xfrm>
        </p:grpSpPr>
        <p:sp>
          <p:nvSpPr>
            <p:cNvPr id="8" name="Rectangle 3">
              <a:extLst>
                <a:ext uri="{FF2B5EF4-FFF2-40B4-BE49-F238E27FC236}">
                  <a16:creationId xmlns:a16="http://schemas.microsoft.com/office/drawing/2014/main" id="{1BA6E798-E6C4-15E6-5E29-3D42C9DBC1CA}"/>
                </a:ext>
              </a:extLst>
            </p:cNvPr>
            <p:cNvSpPr/>
            <p:nvPr userDrawn="1"/>
          </p:nvSpPr>
          <p:spPr>
            <a:xfrm>
              <a:off x="1" y="-7916"/>
              <a:ext cx="18431746" cy="3773073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  <p:sp>
          <p:nvSpPr>
            <p:cNvPr id="9" name="Rectangle 3">
              <a:extLst>
                <a:ext uri="{FF2B5EF4-FFF2-40B4-BE49-F238E27FC236}">
                  <a16:creationId xmlns:a16="http://schemas.microsoft.com/office/drawing/2014/main" id="{782B2B21-6978-EFA0-01C5-202393BF7496}"/>
                </a:ext>
              </a:extLst>
            </p:cNvPr>
            <p:cNvSpPr/>
            <p:nvPr userDrawn="1"/>
          </p:nvSpPr>
          <p:spPr>
            <a:xfrm>
              <a:off x="0" y="-1505"/>
              <a:ext cx="18431746" cy="3275560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6000">
                  <a:schemeClr val="tx2"/>
                </a:gs>
                <a:gs pos="55000">
                  <a:srgbClr val="F8981B"/>
                </a:gs>
                <a:gs pos="35000">
                  <a:srgbClr val="F98D15"/>
                </a:gs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  <a:gs pos="79000">
                  <a:schemeClr val="tx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54481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63E046BA-94C0-012E-627F-493F12824F57}"/>
              </a:ext>
            </a:extLst>
          </p:cNvPr>
          <p:cNvSpPr/>
          <p:nvPr userDrawn="1"/>
        </p:nvSpPr>
        <p:spPr bwMode="auto">
          <a:xfrm>
            <a:off x="365125" y="366713"/>
            <a:ext cx="10583862" cy="1166811"/>
          </a:xfrm>
          <a:prstGeom prst="round2SameRect">
            <a:avLst>
              <a:gd name="adj1" fmla="val 16667"/>
              <a:gd name="adj2" fmla="val 0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151742-951B-4B8B-93F8-F6814A0074E2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9756475" y="6343650"/>
            <a:ext cx="1192512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97F4CD0-83C1-4C99-A2BD-6DA4A1CC9D00}" type="datetime4">
              <a:rPr lang="en-GB" smtClean="0"/>
              <a:pPr/>
              <a:t>12 May 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4920F6-7DEA-40DB-B124-F0789E56046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DDB722-CBB2-49EC-937E-10206DEB6B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7DC54694-9AFE-1243-637E-994529796B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32A465AF-0CEE-9B87-84B6-46EFB20123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11162"/>
            <a:ext cx="11460164" cy="4484800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t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outside of white 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52C3F43C-FC7A-0542-CDEC-38002E5217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366714"/>
            <a:ext cx="10583862" cy="7223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9078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E56E75AF-5F25-4358-08BF-30B90C43DE05}"/>
              </a:ext>
            </a:extLst>
          </p:cNvPr>
          <p:cNvSpPr/>
          <p:nvPr userDrawn="1"/>
        </p:nvSpPr>
        <p:spPr bwMode="auto">
          <a:xfrm>
            <a:off x="365125" y="366713"/>
            <a:ext cx="10583862" cy="1166811"/>
          </a:xfrm>
          <a:prstGeom prst="round2SameRect">
            <a:avLst>
              <a:gd name="adj1" fmla="val 16667"/>
              <a:gd name="adj2" fmla="val 0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DD48070-D695-60C2-898C-9832D9369B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11162"/>
            <a:ext cx="11460164" cy="4484800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t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outside of white 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1B731B-8FAA-4A1B-8740-D7002967C1CA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9819910" y="6343650"/>
            <a:ext cx="1129077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B124F8D-6A21-41BB-B641-CA493D4F9456}" type="datetime4">
              <a:rPr lang="en-GB" smtClean="0"/>
              <a:pPr/>
              <a:t>12 May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C84BE9-25CA-45B1-9061-9DCABA70A1E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0296A1-E119-4AEC-80A5-65FD719F963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F6E4BF1-5B10-6CC3-60CB-FA773CAB8A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880767"/>
            <a:ext cx="10455274" cy="352800"/>
          </a:xfrm>
          <a:prstGeom prst="rect">
            <a:avLst/>
          </a:prstGeom>
        </p:spPr>
        <p:txBody>
          <a:bodyPr wrap="square" lIns="7200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0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A1DEFBF-52A2-EFFF-8109-AEB9B18BB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366715"/>
            <a:ext cx="10455274" cy="649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43336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subhea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Top Corners Rounded 5">
            <a:extLst>
              <a:ext uri="{FF2B5EF4-FFF2-40B4-BE49-F238E27FC236}">
                <a16:creationId xmlns:a16="http://schemas.microsoft.com/office/drawing/2014/main" id="{B9C3FA27-BD1D-FE2D-DA60-53DD820DEEFE}"/>
              </a:ext>
            </a:extLst>
          </p:cNvPr>
          <p:cNvSpPr/>
          <p:nvPr userDrawn="1"/>
        </p:nvSpPr>
        <p:spPr bwMode="auto">
          <a:xfrm>
            <a:off x="365125" y="366713"/>
            <a:ext cx="10583862" cy="1604962"/>
          </a:xfrm>
          <a:prstGeom prst="round2SameRect">
            <a:avLst>
              <a:gd name="adj1" fmla="val 13106"/>
              <a:gd name="adj2" fmla="val 0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5456" y="1303338"/>
            <a:ext cx="10454943" cy="399600"/>
          </a:xfrm>
          <a:prstGeom prst="rect">
            <a:avLst/>
          </a:prstGeom>
        </p:spPr>
        <p:txBody>
          <a:bodyPr lIns="7200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2"/>
                </a:solidFill>
              </a:defRPr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GB"/>
              <a:t>Click to enter subheading text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475D1F-3C7D-443F-9C73-9160E439AE1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9819910" y="6343650"/>
            <a:ext cx="1129077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C36D2BF-D8B1-4705-ABD7-209D78E9EBFF}" type="datetime4">
              <a:rPr lang="en-GB" smtClean="0"/>
              <a:pPr/>
              <a:t>12 May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10FAE2-40C5-48E8-A896-0682681B6AC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AF230C5-C173-4CDF-8F46-DDF8D7240B6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4948F27-704C-1DAA-6914-09547F51E5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7F5652CC-31B7-35D1-F534-1C9629A68A4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5125" y="1828800"/>
            <a:ext cx="11460164" cy="3967162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t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outside of white 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00949D2F-677B-90E1-923C-69C49ED7AE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366714"/>
            <a:ext cx="10454944" cy="7223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E5C4A2E0-E36C-97FC-D167-2FB2EB53C81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880767"/>
            <a:ext cx="10455274" cy="352800"/>
          </a:xfrm>
          <a:prstGeom prst="rect">
            <a:avLst/>
          </a:prstGeom>
        </p:spPr>
        <p:txBody>
          <a:bodyPr wrap="square" lIns="7200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04035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5126" y="1019176"/>
            <a:ext cx="5602288" cy="4762500"/>
          </a:xfrm>
          <a:prstGeom prst="roundRect">
            <a:avLst>
              <a:gd name="adj" fmla="val 2842"/>
            </a:avLst>
          </a:prstGeom>
          <a:solidFill>
            <a:schemeClr val="bg1"/>
          </a:solidFill>
        </p:spPr>
        <p:txBody>
          <a:bodyPr lIns="0" tIns="432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22C42CC-B64F-E766-D49E-1EFF1180BA06}"/>
              </a:ext>
            </a:extLst>
          </p:cNvPr>
          <p:cNvSpPr/>
          <p:nvPr userDrawn="1"/>
        </p:nvSpPr>
        <p:spPr bwMode="auto">
          <a:xfrm>
            <a:off x="365125" y="366713"/>
            <a:ext cx="10583862" cy="936625"/>
          </a:xfrm>
          <a:prstGeom prst="roundRect">
            <a:avLst>
              <a:gd name="adj" fmla="val 24804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>
              <a:solidFill>
                <a:schemeClr val="tx1"/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9747849" y="6343650"/>
            <a:ext cx="1201138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9AF67FF-E09E-42E7-8CF4-0C88178FECBB}" type="datetime4">
              <a:rPr lang="en-GB" smtClean="0"/>
              <a:pPr/>
              <a:t>12 May 2025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6755595-F15E-41BF-2704-FC4226C9D34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B5E5F56F-1887-BA68-9575-D09217CEF9A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23001" y="1543129"/>
            <a:ext cx="5602288" cy="4238548"/>
          </a:xfrm>
          <a:prstGeom prst="roundRect">
            <a:avLst>
              <a:gd name="adj" fmla="val 4782"/>
            </a:avLst>
          </a:prstGeom>
          <a:solidFill>
            <a:schemeClr val="bg1"/>
          </a:solidFill>
          <a:ln>
            <a:noFill/>
          </a:ln>
        </p:spPr>
        <p:txBody>
          <a:bodyPr lIns="180000" tIns="576000" bIns="72000" anchor="ctr">
            <a:noAutofit/>
          </a:bodyPr>
          <a:lstStyle>
            <a:lvl1pPr marL="0" indent="0" algn="ctr">
              <a:buNone/>
              <a:defRPr sz="20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The image can then be scaled within the frame by using the ‘Crop’ feature in the ‘Picture Format’ tab of the ribbon.</a:t>
            </a:r>
            <a:r>
              <a:rPr lang="en-US"/>
              <a:t> Right click on image to add/edit alt text</a:t>
            </a:r>
            <a:r>
              <a:rPr lang="en-GB"/>
              <a:t>]</a:t>
            </a: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061E5B65-852C-CDC8-35F5-BD169EDAB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366714"/>
            <a:ext cx="10455274" cy="7223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2BE63857-F3C7-70A0-3864-242C66E392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880767"/>
            <a:ext cx="10455274" cy="352800"/>
          </a:xfrm>
          <a:prstGeom prst="rect">
            <a:avLst/>
          </a:prstGeom>
        </p:spPr>
        <p:txBody>
          <a:bodyPr wrap="square" lIns="7200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lide 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2032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4B116F58-844E-3EBF-F321-4840E2339F5E}"/>
              </a:ext>
            </a:extLst>
          </p:cNvPr>
          <p:cNvSpPr/>
          <p:nvPr userDrawn="1"/>
        </p:nvSpPr>
        <p:spPr bwMode="auto">
          <a:xfrm>
            <a:off x="365125" y="366713"/>
            <a:ext cx="10583862" cy="936625"/>
          </a:xfrm>
          <a:prstGeom prst="roundRect">
            <a:avLst>
              <a:gd name="adj" fmla="val 24804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>
              <a:solidFill>
                <a:schemeClr val="tx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331F950-B0EC-9E11-FCB4-1238544B87C0}"/>
              </a:ext>
            </a:extLst>
          </p:cNvPr>
          <p:cNvSpPr/>
          <p:nvPr userDrawn="1"/>
        </p:nvSpPr>
        <p:spPr bwMode="auto">
          <a:xfrm>
            <a:off x="4270374" y="1481138"/>
            <a:ext cx="7554914" cy="4300004"/>
          </a:xfrm>
          <a:prstGeom prst="roundRect">
            <a:avLst>
              <a:gd name="adj" fmla="val 5393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9819910" y="6343650"/>
            <a:ext cx="1129077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9AF67FF-E09E-42E7-8CF4-0C88178FECBB}" type="datetime4">
              <a:rPr lang="en-GB" smtClean="0"/>
              <a:pPr/>
              <a:t>12 May 2025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70374" y="1303338"/>
            <a:ext cx="7554913" cy="4478337"/>
          </a:xfrm>
        </p:spPr>
        <p:txBody>
          <a:bodyPr lIns="252000" tIns="234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C8BC4D61-F9B8-479C-F64B-59FBB3FC6AD0}"/>
              </a:ext>
            </a:extLst>
          </p:cNvPr>
          <p:cNvSpPr/>
          <p:nvPr userDrawn="1"/>
        </p:nvSpPr>
        <p:spPr>
          <a:xfrm>
            <a:off x="365125" y="1480605"/>
            <a:ext cx="3916881" cy="4300536"/>
          </a:xfrm>
          <a:custGeom>
            <a:avLst/>
            <a:gdLst>
              <a:gd name="connsiteX0" fmla="*/ 167483 w 3916881"/>
              <a:gd name="connsiteY0" fmla="*/ 0 h 4477804"/>
              <a:gd name="connsiteX1" fmla="*/ 3485355 w 3916881"/>
              <a:gd name="connsiteY1" fmla="*/ 0 h 4477804"/>
              <a:gd name="connsiteX2" fmla="*/ 3652838 w 3916881"/>
              <a:gd name="connsiteY2" fmla="*/ 167483 h 4477804"/>
              <a:gd name="connsiteX3" fmla="*/ 3652838 w 3916881"/>
              <a:gd name="connsiteY3" fmla="*/ 517226 h 4477804"/>
              <a:gd name="connsiteX4" fmla="*/ 3912021 w 3916881"/>
              <a:gd name="connsiteY4" fmla="*/ 791524 h 4477804"/>
              <a:gd name="connsiteX5" fmla="*/ 3912021 w 3916881"/>
              <a:gd name="connsiteY5" fmla="*/ 802323 h 4477804"/>
              <a:gd name="connsiteX6" fmla="*/ 3652838 w 3916881"/>
              <a:gd name="connsiteY6" fmla="*/ 1076623 h 4477804"/>
              <a:gd name="connsiteX7" fmla="*/ 3652838 w 3916881"/>
              <a:gd name="connsiteY7" fmla="*/ 4310321 h 4477804"/>
              <a:gd name="connsiteX8" fmla="*/ 3485355 w 3916881"/>
              <a:gd name="connsiteY8" fmla="*/ 4477804 h 4477804"/>
              <a:gd name="connsiteX9" fmla="*/ 167483 w 3916881"/>
              <a:gd name="connsiteY9" fmla="*/ 4477804 h 4477804"/>
              <a:gd name="connsiteX10" fmla="*/ 0 w 3916881"/>
              <a:gd name="connsiteY10" fmla="*/ 4310321 h 4477804"/>
              <a:gd name="connsiteX11" fmla="*/ 0 w 3916881"/>
              <a:gd name="connsiteY11" fmla="*/ 167483 h 4477804"/>
              <a:gd name="connsiteX12" fmla="*/ 167483 w 3916881"/>
              <a:gd name="connsiteY12" fmla="*/ 0 h 4477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916881" h="4477804">
                <a:moveTo>
                  <a:pt x="167483" y="0"/>
                </a:moveTo>
                <a:lnTo>
                  <a:pt x="3485355" y="0"/>
                </a:lnTo>
                <a:cubicBezTo>
                  <a:pt x="3577853" y="0"/>
                  <a:pt x="3652838" y="74985"/>
                  <a:pt x="3652838" y="167483"/>
                </a:cubicBezTo>
                <a:lnTo>
                  <a:pt x="3652838" y="517226"/>
                </a:lnTo>
                <a:cubicBezTo>
                  <a:pt x="3652838" y="659776"/>
                  <a:pt x="3745710" y="746167"/>
                  <a:pt x="3912021" y="791524"/>
                </a:cubicBezTo>
                <a:cubicBezTo>
                  <a:pt x="3918501" y="793683"/>
                  <a:pt x="3918501" y="800164"/>
                  <a:pt x="3912021" y="802323"/>
                </a:cubicBezTo>
                <a:cubicBezTo>
                  <a:pt x="3745710" y="847679"/>
                  <a:pt x="3652838" y="934073"/>
                  <a:pt x="3652838" y="1076623"/>
                </a:cubicBezTo>
                <a:lnTo>
                  <a:pt x="3652838" y="4310321"/>
                </a:lnTo>
                <a:cubicBezTo>
                  <a:pt x="3652838" y="4402819"/>
                  <a:pt x="3577853" y="4477804"/>
                  <a:pt x="3485355" y="4477804"/>
                </a:cubicBezTo>
                <a:lnTo>
                  <a:pt x="167483" y="4477804"/>
                </a:lnTo>
                <a:cubicBezTo>
                  <a:pt x="74985" y="4477804"/>
                  <a:pt x="0" y="4402819"/>
                  <a:pt x="0" y="4310321"/>
                </a:cubicBezTo>
                <a:lnTo>
                  <a:pt x="0" y="167483"/>
                </a:lnTo>
                <a:cubicBezTo>
                  <a:pt x="0" y="74985"/>
                  <a:pt x="74985" y="0"/>
                  <a:pt x="167483" y="0"/>
                </a:cubicBezTo>
                <a:close/>
              </a:path>
            </a:pathLst>
          </a:custGeom>
          <a:solidFill>
            <a:srgbClr val="FDE0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72000" tIns="72000" rIns="0" bIns="0" rtlCol="0" anchor="ctr" anchorCtr="0">
            <a:noAutofit/>
          </a:bodyPr>
          <a:lstStyle/>
          <a:p>
            <a:pPr lvl="0" algn="ctr">
              <a:lnSpc>
                <a:spcPct val="100000"/>
              </a:lnSpc>
              <a:spcBef>
                <a:spcPct val="0"/>
              </a:spcBef>
              <a:buNone/>
            </a:pPr>
            <a:endParaRPr lang="en-GB" sz="3600" b="1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7EB7859-7E7C-860C-504D-32940FC85DA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083" y="1538019"/>
            <a:ext cx="3662880" cy="4321711"/>
          </a:xfrm>
          <a:solidFill>
            <a:schemeClr val="tx2">
              <a:lumMod val="20000"/>
              <a:lumOff val="80000"/>
              <a:alpha val="40000"/>
            </a:schemeClr>
          </a:solidFill>
        </p:spPr>
        <p:txBody>
          <a:bodyPr lIns="252000" tIns="234000" rIns="0" bIns="180000"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content appears too large please reduce the size of the font.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868B924F-E18F-F734-05A2-4D1DF958D7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30" name="Title 29">
            <a:extLst>
              <a:ext uri="{FF2B5EF4-FFF2-40B4-BE49-F238E27FC236}">
                <a16:creationId xmlns:a16="http://schemas.microsoft.com/office/drawing/2014/main" id="{5742DA4A-E607-ED9A-311C-33A7161F2A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366714"/>
            <a:ext cx="10375200" cy="7223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285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10363200" cy="1219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1828800"/>
            <a:ext cx="103632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0A90E337-F800-1146-8455-677861B99144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325890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630870D-CC68-6C35-76B7-CA96AF1130A9}"/>
              </a:ext>
            </a:extLst>
          </p:cNvPr>
          <p:cNvSpPr/>
          <p:nvPr userDrawn="1"/>
        </p:nvSpPr>
        <p:spPr bwMode="auto">
          <a:xfrm>
            <a:off x="365125" y="366713"/>
            <a:ext cx="10583862" cy="936625"/>
          </a:xfrm>
          <a:prstGeom prst="roundRect">
            <a:avLst>
              <a:gd name="adj" fmla="val 24804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>
              <a:solidFill>
                <a:schemeClr val="tx1"/>
              </a:solidFill>
            </a:endParaRP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84D842E7-3825-7B74-FB40-33701DC7188D}"/>
              </a:ext>
            </a:extLst>
          </p:cNvPr>
          <p:cNvSpPr/>
          <p:nvPr userDrawn="1"/>
        </p:nvSpPr>
        <p:spPr bwMode="auto">
          <a:xfrm>
            <a:off x="365125" y="1427321"/>
            <a:ext cx="5602288" cy="4649787"/>
          </a:xfrm>
          <a:prstGeom prst="round2SameRect">
            <a:avLst>
              <a:gd name="adj1" fmla="val 0"/>
              <a:gd name="adj2" fmla="val 5263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DD63738-13F3-CD96-995A-A4889EB1B91A}"/>
              </a:ext>
            </a:extLst>
          </p:cNvPr>
          <p:cNvSpPr/>
          <p:nvPr userDrawn="1"/>
        </p:nvSpPr>
        <p:spPr bwMode="auto">
          <a:xfrm>
            <a:off x="6222293" y="1427321"/>
            <a:ext cx="5602996" cy="4649787"/>
          </a:xfrm>
          <a:custGeom>
            <a:avLst/>
            <a:gdLst>
              <a:gd name="connsiteX0" fmla="*/ 0 w 5602288"/>
              <a:gd name="connsiteY0" fmla="*/ 308234 h 4649787"/>
              <a:gd name="connsiteX1" fmla="*/ 308234 w 5602288"/>
              <a:gd name="connsiteY1" fmla="*/ 0 h 4649787"/>
              <a:gd name="connsiteX2" fmla="*/ 5294054 w 5602288"/>
              <a:gd name="connsiteY2" fmla="*/ 0 h 4649787"/>
              <a:gd name="connsiteX3" fmla="*/ 5602288 w 5602288"/>
              <a:gd name="connsiteY3" fmla="*/ 308234 h 4649787"/>
              <a:gd name="connsiteX4" fmla="*/ 5602288 w 5602288"/>
              <a:gd name="connsiteY4" fmla="*/ 4341553 h 4649787"/>
              <a:gd name="connsiteX5" fmla="*/ 5294054 w 5602288"/>
              <a:gd name="connsiteY5" fmla="*/ 4649787 h 4649787"/>
              <a:gd name="connsiteX6" fmla="*/ 308234 w 5602288"/>
              <a:gd name="connsiteY6" fmla="*/ 4649787 h 4649787"/>
              <a:gd name="connsiteX7" fmla="*/ 0 w 5602288"/>
              <a:gd name="connsiteY7" fmla="*/ 4341553 h 4649787"/>
              <a:gd name="connsiteX8" fmla="*/ 0 w 5602288"/>
              <a:gd name="connsiteY8" fmla="*/ 308234 h 4649787"/>
              <a:gd name="connsiteX0" fmla="*/ 128618 w 5730906"/>
              <a:gd name="connsiteY0" fmla="*/ 372026 h 4713579"/>
              <a:gd name="connsiteX1" fmla="*/ 218985 w 5730906"/>
              <a:gd name="connsiteY1" fmla="*/ 144806 h 4713579"/>
              <a:gd name="connsiteX2" fmla="*/ 436852 w 5730906"/>
              <a:gd name="connsiteY2" fmla="*/ 63792 h 4713579"/>
              <a:gd name="connsiteX3" fmla="*/ 5422672 w 5730906"/>
              <a:gd name="connsiteY3" fmla="*/ 63792 h 4713579"/>
              <a:gd name="connsiteX4" fmla="*/ 5730906 w 5730906"/>
              <a:gd name="connsiteY4" fmla="*/ 372026 h 4713579"/>
              <a:gd name="connsiteX5" fmla="*/ 5730906 w 5730906"/>
              <a:gd name="connsiteY5" fmla="*/ 4405345 h 4713579"/>
              <a:gd name="connsiteX6" fmla="*/ 5422672 w 5730906"/>
              <a:gd name="connsiteY6" fmla="*/ 4713579 h 4713579"/>
              <a:gd name="connsiteX7" fmla="*/ 436852 w 5730906"/>
              <a:gd name="connsiteY7" fmla="*/ 4713579 h 4713579"/>
              <a:gd name="connsiteX8" fmla="*/ 128618 w 5730906"/>
              <a:gd name="connsiteY8" fmla="*/ 4405345 h 4713579"/>
              <a:gd name="connsiteX9" fmla="*/ 128618 w 5730906"/>
              <a:gd name="connsiteY9" fmla="*/ 372026 h 4713579"/>
              <a:gd name="connsiteX0" fmla="*/ 128618 w 5730906"/>
              <a:gd name="connsiteY0" fmla="*/ 372026 h 4713579"/>
              <a:gd name="connsiteX1" fmla="*/ 218985 w 5730906"/>
              <a:gd name="connsiteY1" fmla="*/ 144806 h 4713579"/>
              <a:gd name="connsiteX2" fmla="*/ 436852 w 5730906"/>
              <a:gd name="connsiteY2" fmla="*/ 63792 h 4713579"/>
              <a:gd name="connsiteX3" fmla="*/ 5422672 w 5730906"/>
              <a:gd name="connsiteY3" fmla="*/ 63792 h 4713579"/>
              <a:gd name="connsiteX4" fmla="*/ 5730906 w 5730906"/>
              <a:gd name="connsiteY4" fmla="*/ 372026 h 4713579"/>
              <a:gd name="connsiteX5" fmla="*/ 5730906 w 5730906"/>
              <a:gd name="connsiteY5" fmla="*/ 4405345 h 4713579"/>
              <a:gd name="connsiteX6" fmla="*/ 5422672 w 5730906"/>
              <a:gd name="connsiteY6" fmla="*/ 4713579 h 4713579"/>
              <a:gd name="connsiteX7" fmla="*/ 436852 w 5730906"/>
              <a:gd name="connsiteY7" fmla="*/ 4713579 h 4713579"/>
              <a:gd name="connsiteX8" fmla="*/ 128618 w 5730906"/>
              <a:gd name="connsiteY8" fmla="*/ 4405345 h 4713579"/>
              <a:gd name="connsiteX9" fmla="*/ 128618 w 5730906"/>
              <a:gd name="connsiteY9" fmla="*/ 372026 h 4713579"/>
              <a:gd name="connsiteX0" fmla="*/ 157160 w 5759448"/>
              <a:gd name="connsiteY0" fmla="*/ 398923 h 4740476"/>
              <a:gd name="connsiteX1" fmla="*/ 167381 w 5759448"/>
              <a:gd name="connsiteY1" fmla="*/ 102485 h 4740476"/>
              <a:gd name="connsiteX2" fmla="*/ 465394 w 5759448"/>
              <a:gd name="connsiteY2" fmla="*/ 90689 h 4740476"/>
              <a:gd name="connsiteX3" fmla="*/ 5451214 w 5759448"/>
              <a:gd name="connsiteY3" fmla="*/ 90689 h 4740476"/>
              <a:gd name="connsiteX4" fmla="*/ 5759448 w 5759448"/>
              <a:gd name="connsiteY4" fmla="*/ 398923 h 4740476"/>
              <a:gd name="connsiteX5" fmla="*/ 5759448 w 5759448"/>
              <a:gd name="connsiteY5" fmla="*/ 4432242 h 4740476"/>
              <a:gd name="connsiteX6" fmla="*/ 5451214 w 5759448"/>
              <a:gd name="connsiteY6" fmla="*/ 4740476 h 4740476"/>
              <a:gd name="connsiteX7" fmla="*/ 465394 w 5759448"/>
              <a:gd name="connsiteY7" fmla="*/ 4740476 h 4740476"/>
              <a:gd name="connsiteX8" fmla="*/ 157160 w 5759448"/>
              <a:gd name="connsiteY8" fmla="*/ 4432242 h 4740476"/>
              <a:gd name="connsiteX9" fmla="*/ 157160 w 5759448"/>
              <a:gd name="connsiteY9" fmla="*/ 398923 h 4740476"/>
              <a:gd name="connsiteX0" fmla="*/ 137655 w 5739943"/>
              <a:gd name="connsiteY0" fmla="*/ 398923 h 4740476"/>
              <a:gd name="connsiteX1" fmla="*/ 147876 w 5739943"/>
              <a:gd name="connsiteY1" fmla="*/ 102485 h 4740476"/>
              <a:gd name="connsiteX2" fmla="*/ 445889 w 5739943"/>
              <a:gd name="connsiteY2" fmla="*/ 90689 h 4740476"/>
              <a:gd name="connsiteX3" fmla="*/ 5431709 w 5739943"/>
              <a:gd name="connsiteY3" fmla="*/ 90689 h 4740476"/>
              <a:gd name="connsiteX4" fmla="*/ 5739943 w 5739943"/>
              <a:gd name="connsiteY4" fmla="*/ 398923 h 4740476"/>
              <a:gd name="connsiteX5" fmla="*/ 5739943 w 5739943"/>
              <a:gd name="connsiteY5" fmla="*/ 4432242 h 4740476"/>
              <a:gd name="connsiteX6" fmla="*/ 5431709 w 5739943"/>
              <a:gd name="connsiteY6" fmla="*/ 4740476 h 4740476"/>
              <a:gd name="connsiteX7" fmla="*/ 445889 w 5739943"/>
              <a:gd name="connsiteY7" fmla="*/ 4740476 h 4740476"/>
              <a:gd name="connsiteX8" fmla="*/ 137655 w 5739943"/>
              <a:gd name="connsiteY8" fmla="*/ 4432242 h 4740476"/>
              <a:gd name="connsiteX9" fmla="*/ 137655 w 5739943"/>
              <a:gd name="connsiteY9" fmla="*/ 398923 h 4740476"/>
              <a:gd name="connsiteX0" fmla="*/ 137655 w 5739943"/>
              <a:gd name="connsiteY0" fmla="*/ 392985 h 4734538"/>
              <a:gd name="connsiteX1" fmla="*/ 147876 w 5739943"/>
              <a:gd name="connsiteY1" fmla="*/ 96547 h 4734538"/>
              <a:gd name="connsiteX2" fmla="*/ 445889 w 5739943"/>
              <a:gd name="connsiteY2" fmla="*/ 84751 h 4734538"/>
              <a:gd name="connsiteX3" fmla="*/ 5431709 w 5739943"/>
              <a:gd name="connsiteY3" fmla="*/ 84751 h 4734538"/>
              <a:gd name="connsiteX4" fmla="*/ 5739943 w 5739943"/>
              <a:gd name="connsiteY4" fmla="*/ 392985 h 4734538"/>
              <a:gd name="connsiteX5" fmla="*/ 5739943 w 5739943"/>
              <a:gd name="connsiteY5" fmla="*/ 4426304 h 4734538"/>
              <a:gd name="connsiteX6" fmla="*/ 5431709 w 5739943"/>
              <a:gd name="connsiteY6" fmla="*/ 4734538 h 4734538"/>
              <a:gd name="connsiteX7" fmla="*/ 445889 w 5739943"/>
              <a:gd name="connsiteY7" fmla="*/ 4734538 h 4734538"/>
              <a:gd name="connsiteX8" fmla="*/ 137655 w 5739943"/>
              <a:gd name="connsiteY8" fmla="*/ 4426304 h 4734538"/>
              <a:gd name="connsiteX9" fmla="*/ 137655 w 5739943"/>
              <a:gd name="connsiteY9" fmla="*/ 392985 h 4734538"/>
              <a:gd name="connsiteX0" fmla="*/ 137655 w 5739943"/>
              <a:gd name="connsiteY0" fmla="*/ 308234 h 4649787"/>
              <a:gd name="connsiteX1" fmla="*/ 147876 w 5739943"/>
              <a:gd name="connsiteY1" fmla="*/ 11796 h 4649787"/>
              <a:gd name="connsiteX2" fmla="*/ 445889 w 5739943"/>
              <a:gd name="connsiteY2" fmla="*/ 0 h 4649787"/>
              <a:gd name="connsiteX3" fmla="*/ 5431709 w 5739943"/>
              <a:gd name="connsiteY3" fmla="*/ 0 h 4649787"/>
              <a:gd name="connsiteX4" fmla="*/ 5739943 w 5739943"/>
              <a:gd name="connsiteY4" fmla="*/ 308234 h 4649787"/>
              <a:gd name="connsiteX5" fmla="*/ 5739943 w 5739943"/>
              <a:gd name="connsiteY5" fmla="*/ 4341553 h 4649787"/>
              <a:gd name="connsiteX6" fmla="*/ 5431709 w 5739943"/>
              <a:gd name="connsiteY6" fmla="*/ 4649787 h 4649787"/>
              <a:gd name="connsiteX7" fmla="*/ 445889 w 5739943"/>
              <a:gd name="connsiteY7" fmla="*/ 4649787 h 4649787"/>
              <a:gd name="connsiteX8" fmla="*/ 137655 w 5739943"/>
              <a:gd name="connsiteY8" fmla="*/ 4341553 h 4649787"/>
              <a:gd name="connsiteX9" fmla="*/ 137655 w 5739943"/>
              <a:gd name="connsiteY9" fmla="*/ 308234 h 4649787"/>
              <a:gd name="connsiteX0" fmla="*/ 0 w 5602288"/>
              <a:gd name="connsiteY0" fmla="*/ 308234 h 4649787"/>
              <a:gd name="connsiteX1" fmla="*/ 10221 w 5602288"/>
              <a:gd name="connsiteY1" fmla="*/ 11796 h 4649787"/>
              <a:gd name="connsiteX2" fmla="*/ 308234 w 5602288"/>
              <a:gd name="connsiteY2" fmla="*/ 0 h 4649787"/>
              <a:gd name="connsiteX3" fmla="*/ 5294054 w 5602288"/>
              <a:gd name="connsiteY3" fmla="*/ 0 h 4649787"/>
              <a:gd name="connsiteX4" fmla="*/ 5602288 w 5602288"/>
              <a:gd name="connsiteY4" fmla="*/ 308234 h 4649787"/>
              <a:gd name="connsiteX5" fmla="*/ 5602288 w 5602288"/>
              <a:gd name="connsiteY5" fmla="*/ 4341553 h 4649787"/>
              <a:gd name="connsiteX6" fmla="*/ 5294054 w 5602288"/>
              <a:gd name="connsiteY6" fmla="*/ 4649787 h 4649787"/>
              <a:gd name="connsiteX7" fmla="*/ 308234 w 5602288"/>
              <a:gd name="connsiteY7" fmla="*/ 4649787 h 4649787"/>
              <a:gd name="connsiteX8" fmla="*/ 0 w 5602288"/>
              <a:gd name="connsiteY8" fmla="*/ 4341553 h 4649787"/>
              <a:gd name="connsiteX9" fmla="*/ 0 w 5602288"/>
              <a:gd name="connsiteY9" fmla="*/ 308234 h 4649787"/>
              <a:gd name="connsiteX0" fmla="*/ 3839 w 5606127"/>
              <a:gd name="connsiteY0" fmla="*/ 308234 h 4649787"/>
              <a:gd name="connsiteX1" fmla="*/ 3131 w 5606127"/>
              <a:gd name="connsiteY1" fmla="*/ 8153 h 4649787"/>
              <a:gd name="connsiteX2" fmla="*/ 312073 w 5606127"/>
              <a:gd name="connsiteY2" fmla="*/ 0 h 4649787"/>
              <a:gd name="connsiteX3" fmla="*/ 5297893 w 5606127"/>
              <a:gd name="connsiteY3" fmla="*/ 0 h 4649787"/>
              <a:gd name="connsiteX4" fmla="*/ 5606127 w 5606127"/>
              <a:gd name="connsiteY4" fmla="*/ 308234 h 4649787"/>
              <a:gd name="connsiteX5" fmla="*/ 5606127 w 5606127"/>
              <a:gd name="connsiteY5" fmla="*/ 4341553 h 4649787"/>
              <a:gd name="connsiteX6" fmla="*/ 5297893 w 5606127"/>
              <a:gd name="connsiteY6" fmla="*/ 4649787 h 4649787"/>
              <a:gd name="connsiteX7" fmla="*/ 312073 w 5606127"/>
              <a:gd name="connsiteY7" fmla="*/ 4649787 h 4649787"/>
              <a:gd name="connsiteX8" fmla="*/ 3839 w 5606127"/>
              <a:gd name="connsiteY8" fmla="*/ 4341553 h 4649787"/>
              <a:gd name="connsiteX9" fmla="*/ 3839 w 5606127"/>
              <a:gd name="connsiteY9" fmla="*/ 308234 h 4649787"/>
              <a:gd name="connsiteX0" fmla="*/ 3839 w 5606127"/>
              <a:gd name="connsiteY0" fmla="*/ 308234 h 4649787"/>
              <a:gd name="connsiteX1" fmla="*/ 3131 w 5606127"/>
              <a:gd name="connsiteY1" fmla="*/ 8153 h 4649787"/>
              <a:gd name="connsiteX2" fmla="*/ 312073 w 5606127"/>
              <a:gd name="connsiteY2" fmla="*/ 0 h 4649787"/>
              <a:gd name="connsiteX3" fmla="*/ 5297893 w 5606127"/>
              <a:gd name="connsiteY3" fmla="*/ 0 h 4649787"/>
              <a:gd name="connsiteX4" fmla="*/ 5606127 w 5606127"/>
              <a:gd name="connsiteY4" fmla="*/ 308234 h 4649787"/>
              <a:gd name="connsiteX5" fmla="*/ 5606127 w 5606127"/>
              <a:gd name="connsiteY5" fmla="*/ 4341553 h 4649787"/>
              <a:gd name="connsiteX6" fmla="*/ 5297893 w 5606127"/>
              <a:gd name="connsiteY6" fmla="*/ 4649787 h 4649787"/>
              <a:gd name="connsiteX7" fmla="*/ 312073 w 5606127"/>
              <a:gd name="connsiteY7" fmla="*/ 4649787 h 4649787"/>
              <a:gd name="connsiteX8" fmla="*/ 3839 w 5606127"/>
              <a:gd name="connsiteY8" fmla="*/ 4341553 h 4649787"/>
              <a:gd name="connsiteX9" fmla="*/ 3839 w 5606127"/>
              <a:gd name="connsiteY9" fmla="*/ 308234 h 4649787"/>
              <a:gd name="connsiteX0" fmla="*/ 2237 w 5604525"/>
              <a:gd name="connsiteY0" fmla="*/ 308234 h 4649787"/>
              <a:gd name="connsiteX1" fmla="*/ 1529 w 5604525"/>
              <a:gd name="connsiteY1" fmla="*/ 8153 h 4649787"/>
              <a:gd name="connsiteX2" fmla="*/ 310471 w 5604525"/>
              <a:gd name="connsiteY2" fmla="*/ 0 h 4649787"/>
              <a:gd name="connsiteX3" fmla="*/ 5296291 w 5604525"/>
              <a:gd name="connsiteY3" fmla="*/ 0 h 4649787"/>
              <a:gd name="connsiteX4" fmla="*/ 5604525 w 5604525"/>
              <a:gd name="connsiteY4" fmla="*/ 308234 h 4649787"/>
              <a:gd name="connsiteX5" fmla="*/ 5604525 w 5604525"/>
              <a:gd name="connsiteY5" fmla="*/ 4341553 h 4649787"/>
              <a:gd name="connsiteX6" fmla="*/ 5296291 w 5604525"/>
              <a:gd name="connsiteY6" fmla="*/ 4649787 h 4649787"/>
              <a:gd name="connsiteX7" fmla="*/ 310471 w 5604525"/>
              <a:gd name="connsiteY7" fmla="*/ 4649787 h 4649787"/>
              <a:gd name="connsiteX8" fmla="*/ 2237 w 5604525"/>
              <a:gd name="connsiteY8" fmla="*/ 4341553 h 4649787"/>
              <a:gd name="connsiteX9" fmla="*/ 2237 w 5604525"/>
              <a:gd name="connsiteY9" fmla="*/ 308234 h 4649787"/>
              <a:gd name="connsiteX0" fmla="*/ 708 w 5602996"/>
              <a:gd name="connsiteY0" fmla="*/ 308234 h 4649787"/>
              <a:gd name="connsiteX1" fmla="*/ 0 w 5602996"/>
              <a:gd name="connsiteY1" fmla="*/ 8153 h 4649787"/>
              <a:gd name="connsiteX2" fmla="*/ 308942 w 5602996"/>
              <a:gd name="connsiteY2" fmla="*/ 0 h 4649787"/>
              <a:gd name="connsiteX3" fmla="*/ 5294762 w 5602996"/>
              <a:gd name="connsiteY3" fmla="*/ 0 h 4649787"/>
              <a:gd name="connsiteX4" fmla="*/ 5602996 w 5602996"/>
              <a:gd name="connsiteY4" fmla="*/ 308234 h 4649787"/>
              <a:gd name="connsiteX5" fmla="*/ 5602996 w 5602996"/>
              <a:gd name="connsiteY5" fmla="*/ 4341553 h 4649787"/>
              <a:gd name="connsiteX6" fmla="*/ 5294762 w 5602996"/>
              <a:gd name="connsiteY6" fmla="*/ 4649787 h 4649787"/>
              <a:gd name="connsiteX7" fmla="*/ 308942 w 5602996"/>
              <a:gd name="connsiteY7" fmla="*/ 4649787 h 4649787"/>
              <a:gd name="connsiteX8" fmla="*/ 708 w 5602996"/>
              <a:gd name="connsiteY8" fmla="*/ 4341553 h 4649787"/>
              <a:gd name="connsiteX9" fmla="*/ 708 w 5602996"/>
              <a:gd name="connsiteY9" fmla="*/ 308234 h 4649787"/>
              <a:gd name="connsiteX0" fmla="*/ 708 w 5602996"/>
              <a:gd name="connsiteY0" fmla="*/ 308234 h 4649787"/>
              <a:gd name="connsiteX1" fmla="*/ 0 w 5602996"/>
              <a:gd name="connsiteY1" fmla="*/ 8153 h 4649787"/>
              <a:gd name="connsiteX2" fmla="*/ 308942 w 5602996"/>
              <a:gd name="connsiteY2" fmla="*/ 0 h 4649787"/>
              <a:gd name="connsiteX3" fmla="*/ 5294762 w 5602996"/>
              <a:gd name="connsiteY3" fmla="*/ 0 h 4649787"/>
              <a:gd name="connsiteX4" fmla="*/ 5602996 w 5602996"/>
              <a:gd name="connsiteY4" fmla="*/ 308234 h 4649787"/>
              <a:gd name="connsiteX5" fmla="*/ 5602996 w 5602996"/>
              <a:gd name="connsiteY5" fmla="*/ 4341553 h 4649787"/>
              <a:gd name="connsiteX6" fmla="*/ 5294762 w 5602996"/>
              <a:gd name="connsiteY6" fmla="*/ 4649787 h 4649787"/>
              <a:gd name="connsiteX7" fmla="*/ 308942 w 5602996"/>
              <a:gd name="connsiteY7" fmla="*/ 4649787 h 4649787"/>
              <a:gd name="connsiteX8" fmla="*/ 708 w 5602996"/>
              <a:gd name="connsiteY8" fmla="*/ 4341553 h 4649787"/>
              <a:gd name="connsiteX9" fmla="*/ 708 w 5602996"/>
              <a:gd name="connsiteY9" fmla="*/ 308234 h 4649787"/>
              <a:gd name="connsiteX0" fmla="*/ 708 w 5602996"/>
              <a:gd name="connsiteY0" fmla="*/ 310029 h 4651582"/>
              <a:gd name="connsiteX1" fmla="*/ 0 w 5602996"/>
              <a:gd name="connsiteY1" fmla="*/ 9948 h 4651582"/>
              <a:gd name="connsiteX2" fmla="*/ 308942 w 5602996"/>
              <a:gd name="connsiteY2" fmla="*/ 1795 h 4651582"/>
              <a:gd name="connsiteX3" fmla="*/ 5294762 w 5602996"/>
              <a:gd name="connsiteY3" fmla="*/ 1795 h 4651582"/>
              <a:gd name="connsiteX4" fmla="*/ 5602996 w 5602996"/>
              <a:gd name="connsiteY4" fmla="*/ 310029 h 4651582"/>
              <a:gd name="connsiteX5" fmla="*/ 5602996 w 5602996"/>
              <a:gd name="connsiteY5" fmla="*/ 4343348 h 4651582"/>
              <a:gd name="connsiteX6" fmla="*/ 5294762 w 5602996"/>
              <a:gd name="connsiteY6" fmla="*/ 4651582 h 4651582"/>
              <a:gd name="connsiteX7" fmla="*/ 308942 w 5602996"/>
              <a:gd name="connsiteY7" fmla="*/ 4651582 h 4651582"/>
              <a:gd name="connsiteX8" fmla="*/ 708 w 5602996"/>
              <a:gd name="connsiteY8" fmla="*/ 4343348 h 4651582"/>
              <a:gd name="connsiteX9" fmla="*/ 708 w 5602996"/>
              <a:gd name="connsiteY9" fmla="*/ 310029 h 4651582"/>
              <a:gd name="connsiteX0" fmla="*/ 708 w 5602996"/>
              <a:gd name="connsiteY0" fmla="*/ 308234 h 4649787"/>
              <a:gd name="connsiteX1" fmla="*/ 0 w 5602996"/>
              <a:gd name="connsiteY1" fmla="*/ 8153 h 4649787"/>
              <a:gd name="connsiteX2" fmla="*/ 308942 w 5602996"/>
              <a:gd name="connsiteY2" fmla="*/ 0 h 4649787"/>
              <a:gd name="connsiteX3" fmla="*/ 5294762 w 5602996"/>
              <a:gd name="connsiteY3" fmla="*/ 0 h 4649787"/>
              <a:gd name="connsiteX4" fmla="*/ 5602996 w 5602996"/>
              <a:gd name="connsiteY4" fmla="*/ 308234 h 4649787"/>
              <a:gd name="connsiteX5" fmla="*/ 5602996 w 5602996"/>
              <a:gd name="connsiteY5" fmla="*/ 4341553 h 4649787"/>
              <a:gd name="connsiteX6" fmla="*/ 5294762 w 5602996"/>
              <a:gd name="connsiteY6" fmla="*/ 4649787 h 4649787"/>
              <a:gd name="connsiteX7" fmla="*/ 308942 w 5602996"/>
              <a:gd name="connsiteY7" fmla="*/ 4649787 h 4649787"/>
              <a:gd name="connsiteX8" fmla="*/ 708 w 5602996"/>
              <a:gd name="connsiteY8" fmla="*/ 4341553 h 4649787"/>
              <a:gd name="connsiteX9" fmla="*/ 708 w 5602996"/>
              <a:gd name="connsiteY9" fmla="*/ 308234 h 4649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602996" h="4649787">
                <a:moveTo>
                  <a:pt x="708" y="308234"/>
                </a:moveTo>
                <a:cubicBezTo>
                  <a:pt x="1197" y="151884"/>
                  <a:pt x="6917" y="85026"/>
                  <a:pt x="0" y="8153"/>
                </a:cubicBezTo>
                <a:cubicBezTo>
                  <a:pt x="116947" y="497"/>
                  <a:pt x="195768" y="6216"/>
                  <a:pt x="308942" y="0"/>
                </a:cubicBezTo>
                <a:lnTo>
                  <a:pt x="5294762" y="0"/>
                </a:lnTo>
                <a:cubicBezTo>
                  <a:pt x="5464995" y="0"/>
                  <a:pt x="5602996" y="138001"/>
                  <a:pt x="5602996" y="308234"/>
                </a:cubicBezTo>
                <a:lnTo>
                  <a:pt x="5602996" y="4341553"/>
                </a:lnTo>
                <a:cubicBezTo>
                  <a:pt x="5602996" y="4511786"/>
                  <a:pt x="5464995" y="4649787"/>
                  <a:pt x="5294762" y="4649787"/>
                </a:cubicBezTo>
                <a:lnTo>
                  <a:pt x="308942" y="4649787"/>
                </a:lnTo>
                <a:cubicBezTo>
                  <a:pt x="138709" y="4649787"/>
                  <a:pt x="708" y="4511786"/>
                  <a:pt x="708" y="4341553"/>
                </a:cubicBezTo>
                <a:lnTo>
                  <a:pt x="708" y="308234"/>
                </a:ln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A35D6C9-1CA0-9878-3F7C-4F790C689C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23000" y="1427322"/>
            <a:ext cx="5602288" cy="4488605"/>
          </a:xfrm>
          <a:prstGeom prst="roundRect">
            <a:avLst>
              <a:gd name="adj" fmla="val 4253"/>
            </a:avLst>
          </a:prstGeom>
          <a:noFill/>
          <a:ln>
            <a:noFill/>
          </a:ln>
        </p:spPr>
        <p:txBody>
          <a:bodyPr wrap="square" tIns="10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appears outside of white place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637B329-27DE-51CE-F4B6-EB1199B2177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5125" y="1427322"/>
            <a:ext cx="5601600" cy="4488605"/>
          </a:xfrm>
          <a:prstGeom prst="roundRect">
            <a:avLst>
              <a:gd name="adj" fmla="val 3915"/>
            </a:avLst>
          </a:prstGeom>
          <a:noFill/>
          <a:ln>
            <a:noFill/>
          </a:ln>
        </p:spPr>
        <p:txBody>
          <a:bodyPr wrap="square" tIns="108000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nter TEXT content ONLY.</a:t>
            </a:r>
            <a:br>
              <a:rPr lang="en-US"/>
            </a:br>
            <a:r>
              <a:rPr lang="en-US"/>
              <a:t>If text appears outside of white placeholder please reduce the size of the fo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8E3DBB-00A9-4F08-A07C-9ED9733E007D}"/>
              </a:ext>
            </a:extLst>
          </p:cNvPr>
          <p:cNvSpPr>
            <a:spLocks noGrp="1"/>
          </p:cNvSpPr>
          <p:nvPr>
            <p:ph type="dt" sz="half" idx="32"/>
          </p:nvPr>
        </p:nvSpPr>
        <p:spPr>
          <a:xfrm>
            <a:off x="9819910" y="6343650"/>
            <a:ext cx="1129077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2390426-9D2D-4F00-A428-511448A9836C}" type="datetime4">
              <a:rPr lang="en-GB" smtClean="0"/>
              <a:pPr/>
              <a:t>12 May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37A7E-4BE8-4B01-BC5B-6FE33BA2DB0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D87596A-DFCB-4141-B4D9-E82973630099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8B1503-3382-4C3A-A672-A88D048E0DA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32525" y="1578522"/>
            <a:ext cx="5266800" cy="781200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nter</a:t>
            </a:r>
            <a:br>
              <a:rPr lang="en-GB"/>
            </a:br>
            <a:r>
              <a:rPr lang="en-GB"/>
              <a:t>subheading tex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CC1C57B-5831-4901-8605-655DBB075B25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6391644" y="1578522"/>
            <a:ext cx="5265000" cy="781200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nter</a:t>
            </a:r>
            <a:br>
              <a:rPr lang="en-GB"/>
            </a:br>
            <a:r>
              <a:rPr lang="en-GB"/>
              <a:t>subheading text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946E49C-80E4-2763-D682-2EE49EACBD1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EE554B9A-A44A-AC0A-E312-0AA92FFA2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366714"/>
            <a:ext cx="10437194" cy="7223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0642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, Title and Subtitle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74A5472-B358-0F8E-48D6-A8A6143F1C56}"/>
              </a:ext>
            </a:extLst>
          </p:cNvPr>
          <p:cNvSpPr/>
          <p:nvPr userDrawn="1"/>
        </p:nvSpPr>
        <p:spPr bwMode="auto">
          <a:xfrm>
            <a:off x="365125" y="366714"/>
            <a:ext cx="10583862" cy="804862"/>
          </a:xfrm>
          <a:prstGeom prst="roundRect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6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106790" y="1303338"/>
            <a:ext cx="7978421" cy="4487862"/>
          </a:xfrm>
          <a:prstGeom prst="roundRect">
            <a:avLst>
              <a:gd name="adj" fmla="val 3818"/>
            </a:avLst>
          </a:prstGeom>
          <a:solidFill>
            <a:schemeClr val="bg1"/>
          </a:solidFill>
          <a:ln>
            <a:noFill/>
          </a:ln>
        </p:spPr>
        <p:txBody>
          <a:bodyPr lIns="108000" tIns="1008000">
            <a:noAutofit/>
          </a:bodyPr>
          <a:lstStyle>
            <a:lvl1pPr marL="0" indent="0" algn="ctr">
              <a:buNone/>
              <a:defRPr sz="220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on the film icon to insert video]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F92204-289D-4897-A24D-92B4E89E417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819910" y="6343650"/>
            <a:ext cx="1129077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E42D3BA-5EF1-4DB6-ACB2-E19A79A4A64E}" type="datetime4">
              <a:rPr lang="en-GB" smtClean="0"/>
              <a:pPr/>
              <a:t>12 May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8A5764-43D8-49B1-8CCF-1E44D258B4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BA25ACE-65A6-48E3-AD24-12A240BC4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C87C6581-164A-506F-8045-6665667514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A931E66-3AA8-0315-1221-04982C0F7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366714"/>
            <a:ext cx="10406197" cy="7223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2492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Widescreen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5344A2-1C9C-FB10-07A8-CED6CF0274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365126" y="590549"/>
            <a:ext cx="11460162" cy="5500689"/>
          </a:xfrm>
          <a:prstGeom prst="roundRect">
            <a:avLst>
              <a:gd name="adj" fmla="val 2727"/>
            </a:avLst>
          </a:prstGeom>
          <a:solidFill>
            <a:schemeClr val="bg1"/>
          </a:solidFill>
          <a:ln>
            <a:noFill/>
          </a:ln>
        </p:spPr>
        <p:txBody>
          <a:bodyPr lIns="108000" tIns="108000" bIns="1224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on the film icon to insert video]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6FAF02A2-2096-769A-B4A4-65BC046B9B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</p:spTree>
    <p:extLst>
      <p:ext uri="{BB962C8B-B14F-4D97-AF65-F5344CB8AC3E}">
        <p14:creationId xmlns:p14="http://schemas.microsoft.com/office/powerpoint/2010/main" val="3226130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imag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1303338"/>
            <a:ext cx="3652838" cy="4787862"/>
          </a:xfrm>
          <a:prstGeom prst="roundRect">
            <a:avLst>
              <a:gd name="adj" fmla="val 4782"/>
            </a:avLst>
          </a:prstGeom>
          <a:solidFill>
            <a:schemeClr val="bg1"/>
          </a:solidFill>
          <a:ln>
            <a:noFill/>
          </a:ln>
        </p:spPr>
        <p:txBody>
          <a:bodyPr lIns="180000" tIns="576000" bIns="72000" anchor="ctr">
            <a:noAutofit/>
          </a:bodyPr>
          <a:lstStyle>
            <a:lvl1pPr marL="0" indent="0" algn="ctr">
              <a:buNone/>
              <a:defRPr sz="2000" i="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[Click here to insert image]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[The image can then be scaled within the frame by using the ‘Crop’ feature in the ‘Picture Format’ tab of the ribbon.</a:t>
            </a:r>
            <a:r>
              <a:rPr lang="en-US"/>
              <a:t> Right click on image to add/edit alt text</a:t>
            </a:r>
            <a:r>
              <a:rPr lang="en-GB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787137"/>
          </a:xfrm>
          <a:prstGeom prst="roundRect">
            <a:avLst>
              <a:gd name="adj" fmla="val 6313"/>
            </a:avLst>
          </a:prstGeom>
          <a:solidFill>
            <a:schemeClr val="bg1"/>
          </a:solidFill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US"/>
              <a:t>If text content appears too large please reduce the size of the font.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>
          <a:xfrm>
            <a:off x="9819910" y="6343650"/>
            <a:ext cx="1129077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018087B-459D-4729-B449-CCF6702E8E13}" type="datetime4">
              <a:rPr lang="en-GB" smtClean="0"/>
              <a:pPr/>
              <a:t>12 May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41763A8-85C7-BD56-2F7C-2F78E31E74F8}"/>
              </a:ext>
            </a:extLst>
          </p:cNvPr>
          <p:cNvSpPr/>
          <p:nvPr userDrawn="1"/>
        </p:nvSpPr>
        <p:spPr bwMode="auto">
          <a:xfrm>
            <a:off x="365125" y="366714"/>
            <a:ext cx="10583862" cy="804862"/>
          </a:xfrm>
          <a:prstGeom prst="roundRect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6A66F95-3F94-A987-C5E0-3DB2D96E3A7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BC3C52-34EC-8840-AD08-91A70A54BB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366714"/>
            <a:ext cx="10468190" cy="7223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772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>
          <a:xfrm>
            <a:off x="9819910" y="6343650"/>
            <a:ext cx="1129077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1AFB533-57EF-4766-9D87-DAD3C67F4A40}" type="datetime4">
              <a:rPr lang="en-GB" smtClean="0"/>
              <a:pPr/>
              <a:t>12 May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2E2FA657-3A41-6C8A-7C73-5FF4D5761F76}"/>
              </a:ext>
            </a:extLst>
          </p:cNvPr>
          <p:cNvSpPr>
            <a:spLocks noGrp="1"/>
          </p:cNvSpPr>
          <p:nvPr>
            <p:ph type="tbl" sz="quarter" idx="34" hasCustomPrompt="1"/>
          </p:nvPr>
        </p:nvSpPr>
        <p:spPr>
          <a:xfrm>
            <a:off x="365119" y="1303338"/>
            <a:ext cx="11459625" cy="4489450"/>
          </a:xfrm>
          <a:prstGeom prst="roundRect">
            <a:avLst>
              <a:gd name="adj" fmla="val 5210"/>
            </a:avLst>
          </a:prstGeom>
          <a:solidFill>
            <a:schemeClr val="bg1"/>
          </a:solidFill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GB"/>
              <a:t>Click TABLE icon to insert table.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1011CA92-4008-7614-4DE6-674CA970148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4742CEE-6810-3519-B490-C50FFC30A7B6}"/>
              </a:ext>
            </a:extLst>
          </p:cNvPr>
          <p:cNvSpPr/>
          <p:nvPr userDrawn="1"/>
        </p:nvSpPr>
        <p:spPr bwMode="auto">
          <a:xfrm>
            <a:off x="365125" y="366714"/>
            <a:ext cx="10583862" cy="804862"/>
          </a:xfrm>
          <a:prstGeom prst="roundRect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8558D317-B38F-E485-0DD9-238E60D0FA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366714"/>
            <a:ext cx="10421695" cy="7223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918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D23D84C-7137-BB0E-7540-1BCCC6920E97}"/>
              </a:ext>
            </a:extLst>
          </p:cNvPr>
          <p:cNvSpPr/>
          <p:nvPr userDrawn="1"/>
        </p:nvSpPr>
        <p:spPr bwMode="auto">
          <a:xfrm>
            <a:off x="365125" y="366714"/>
            <a:ext cx="10583862" cy="804862"/>
          </a:xfrm>
          <a:prstGeom prst="roundRect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>
          <a:xfrm>
            <a:off x="9739223" y="6343650"/>
            <a:ext cx="1209764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4741D83-B006-4893-8541-66BA34E08C4B}" type="datetime4">
              <a:rPr lang="en-GB" smtClean="0"/>
              <a:pPr/>
              <a:t>12 May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8994D5C1-7836-1E91-87FA-56E472221EB3}"/>
              </a:ext>
            </a:extLst>
          </p:cNvPr>
          <p:cNvSpPr>
            <a:spLocks noGrp="1"/>
          </p:cNvSpPr>
          <p:nvPr>
            <p:ph type="chart" sz="quarter" idx="34" hasCustomPrompt="1"/>
          </p:nvPr>
        </p:nvSpPr>
        <p:spPr>
          <a:xfrm>
            <a:off x="365125" y="1303338"/>
            <a:ext cx="11460163" cy="4489062"/>
          </a:xfrm>
          <a:prstGeom prst="roundRect">
            <a:avLst>
              <a:gd name="adj" fmla="val 5422"/>
            </a:avLst>
          </a:prstGeom>
          <a:solidFill>
            <a:schemeClr val="bg1"/>
          </a:solidFill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GB"/>
              <a:t>Click CHART icons to insert chart.</a:t>
            </a:r>
            <a:br>
              <a:rPr lang="en-GB"/>
            </a:br>
            <a:r>
              <a:rPr lang="en-US"/>
              <a:t>Please ensure your chart title, legend, x and y axis titles are minimum 12 </a:t>
            </a:r>
            <a:r>
              <a:rPr lang="en-US" err="1"/>
              <a:t>pt</a:t>
            </a:r>
            <a:r>
              <a:rPr lang="en-US"/>
              <a:t>, Arial black for accessibility. 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F072BFBB-BE70-5EB1-3005-1BE7F63BA56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E1931FDD-6B45-F0F7-4E89-CA23AB9D0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366714"/>
            <a:ext cx="10390699" cy="7223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2586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E57A6D-CCB0-DF2D-0D9A-6184CE396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42BDB7-A7FE-AA4E-3952-EBCCAC237C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6D6505-B9A2-3A36-B9B6-3E3CF07A64A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819910" y="6343650"/>
            <a:ext cx="1129077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6B58B4-0D72-4C8B-9355-854FB5782278}" type="datetime4">
              <a:rPr lang="en-GB" smtClean="0"/>
              <a:pPr/>
              <a:t>12 May 2025</a:t>
            </a:fld>
            <a:endParaRPr lang="en-GB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AB2B180B-2C55-2881-CF8A-D1F00FD2469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B7133B9-3315-9274-E26A-A698DB2B27EB}"/>
              </a:ext>
            </a:extLst>
          </p:cNvPr>
          <p:cNvSpPr/>
          <p:nvPr userDrawn="1"/>
        </p:nvSpPr>
        <p:spPr bwMode="auto">
          <a:xfrm>
            <a:off x="365125" y="1303338"/>
            <a:ext cx="11460163" cy="4489062"/>
          </a:xfrm>
          <a:prstGeom prst="roundRect">
            <a:avLst>
              <a:gd name="adj" fmla="val 6482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650B5A55-5952-3A43-4C3D-83B3F41228D7}"/>
              </a:ext>
            </a:extLst>
          </p:cNvPr>
          <p:cNvSpPr/>
          <p:nvPr userDrawn="1"/>
        </p:nvSpPr>
        <p:spPr bwMode="auto">
          <a:xfrm>
            <a:off x="365125" y="366714"/>
            <a:ext cx="10583862" cy="804862"/>
          </a:xfrm>
          <a:prstGeom prst="roundRect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4C6D0825-270D-3CA3-C3AE-813B29075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366714"/>
            <a:ext cx="10421695" cy="7223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9999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C3EA56-5111-4037-9D95-99472C98B37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819910" y="6343650"/>
            <a:ext cx="1129077" cy="269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8AF44B5-6D56-4B59-9C1D-2022F9BFF5DA}" type="datetime4">
              <a:rPr lang="en-GB" smtClean="0"/>
              <a:pPr/>
              <a:t>12 May 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CE7BCF-23E0-421B-8A21-1CDDB1673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1F21D1-F1DD-4945-8EF8-43393EDC3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7081B4C-D32C-E090-C7D3-FBAAFA418BB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5125" y="6091238"/>
            <a:ext cx="9505950" cy="522287"/>
          </a:xfrm>
          <a:prstGeom prst="rect">
            <a:avLst/>
          </a:prstGeom>
        </p:spPr>
        <p:txBody>
          <a:bodyPr wrap="square" lIns="0" tIns="72000" rIns="0" bIns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</a:defRPr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F55D6BF-140C-7517-00E1-E063CA058B72}"/>
              </a:ext>
            </a:extLst>
          </p:cNvPr>
          <p:cNvSpPr/>
          <p:nvPr userDrawn="1"/>
        </p:nvSpPr>
        <p:spPr bwMode="auto">
          <a:xfrm>
            <a:off x="365125" y="390525"/>
            <a:ext cx="11460163" cy="5401875"/>
          </a:xfrm>
          <a:prstGeom prst="roundRect">
            <a:avLst>
              <a:gd name="adj" fmla="val 5953"/>
            </a:avLst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</a:pPr>
            <a:endParaRPr lang="en-GB" sz="1600" kern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732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210B85-691C-7298-6DB6-61C25A5191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11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210B85-691C-7298-6DB6-61C25A519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1F7EFD61-0B79-2619-1483-7B804B2C8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2100263"/>
            <a:ext cx="11460163" cy="2490787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nter section header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BC9BD8C-031D-7F0A-C46B-D38FB01367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800404"/>
            <a:ext cx="11460164" cy="475200"/>
          </a:xfrm>
          <a:prstGeom prst="rect">
            <a:avLst/>
          </a:prstGeom>
        </p:spPr>
        <p:txBody>
          <a:bodyPr wrap="square" lIns="7200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nter section subtit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F2B22C6-B116-D2FA-B69E-65CF72B35B7A}"/>
              </a:ext>
            </a:extLst>
          </p:cNvPr>
          <p:cNvGrpSpPr/>
          <p:nvPr userDrawn="1"/>
        </p:nvGrpSpPr>
        <p:grpSpPr>
          <a:xfrm rot="10800000" flipH="1" flipV="1">
            <a:off x="0" y="7938"/>
            <a:ext cx="5256621" cy="1351305"/>
            <a:chOff x="0" y="-7916"/>
            <a:chExt cx="18431747" cy="377307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72A52EF-1985-6A38-B17B-A3982693E5F2}"/>
                </a:ext>
              </a:extLst>
            </p:cNvPr>
            <p:cNvSpPr/>
            <p:nvPr userDrawn="1"/>
          </p:nvSpPr>
          <p:spPr>
            <a:xfrm>
              <a:off x="1" y="-7916"/>
              <a:ext cx="18431746" cy="3773073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  <p:sp>
          <p:nvSpPr>
            <p:cNvPr id="5" name="Rectangle 3">
              <a:extLst>
                <a:ext uri="{FF2B5EF4-FFF2-40B4-BE49-F238E27FC236}">
                  <a16:creationId xmlns:a16="http://schemas.microsoft.com/office/drawing/2014/main" id="{1EEA7038-6B10-54F8-8654-A5C6B260F6DF}"/>
                </a:ext>
              </a:extLst>
            </p:cNvPr>
            <p:cNvSpPr/>
            <p:nvPr userDrawn="1"/>
          </p:nvSpPr>
          <p:spPr>
            <a:xfrm>
              <a:off x="0" y="-1505"/>
              <a:ext cx="18431746" cy="3275560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6000">
                  <a:schemeClr val="tx2"/>
                </a:gs>
                <a:gs pos="55000">
                  <a:srgbClr val="F8981B"/>
                </a:gs>
                <a:gs pos="35000">
                  <a:srgbClr val="F98D15"/>
                </a:gs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  <a:gs pos="79000">
                  <a:schemeClr val="tx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F19FE7C-C08C-4CDF-325E-506CE8EE1323}"/>
              </a:ext>
            </a:extLst>
          </p:cNvPr>
          <p:cNvGrpSpPr/>
          <p:nvPr userDrawn="1"/>
        </p:nvGrpSpPr>
        <p:grpSpPr>
          <a:xfrm flipH="1" flipV="1">
            <a:off x="5256621" y="5272500"/>
            <a:ext cx="6935379" cy="1637476"/>
            <a:chOff x="0" y="-7916"/>
            <a:chExt cx="18431747" cy="3773073"/>
          </a:xfrm>
        </p:grpSpPr>
        <p:sp>
          <p:nvSpPr>
            <p:cNvPr id="7" name="Rectangle 3">
              <a:extLst>
                <a:ext uri="{FF2B5EF4-FFF2-40B4-BE49-F238E27FC236}">
                  <a16:creationId xmlns:a16="http://schemas.microsoft.com/office/drawing/2014/main" id="{FFDE9193-AA8B-98BC-1423-76C3240A790C}"/>
                </a:ext>
              </a:extLst>
            </p:cNvPr>
            <p:cNvSpPr/>
            <p:nvPr userDrawn="1"/>
          </p:nvSpPr>
          <p:spPr>
            <a:xfrm>
              <a:off x="1" y="-7916"/>
              <a:ext cx="18431746" cy="3773073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  <p:sp>
          <p:nvSpPr>
            <p:cNvPr id="11" name="Rectangle 3">
              <a:extLst>
                <a:ext uri="{FF2B5EF4-FFF2-40B4-BE49-F238E27FC236}">
                  <a16:creationId xmlns:a16="http://schemas.microsoft.com/office/drawing/2014/main" id="{D7E9B154-6261-CEFC-F095-2A1E5F8B8D95}"/>
                </a:ext>
              </a:extLst>
            </p:cNvPr>
            <p:cNvSpPr/>
            <p:nvPr userDrawn="1"/>
          </p:nvSpPr>
          <p:spPr>
            <a:xfrm>
              <a:off x="0" y="-1505"/>
              <a:ext cx="18431746" cy="3275560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6000">
                  <a:schemeClr val="tx2"/>
                </a:gs>
                <a:gs pos="55000">
                  <a:srgbClr val="F8981B"/>
                </a:gs>
                <a:gs pos="35000">
                  <a:srgbClr val="F98D15"/>
                </a:gs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  <a:gs pos="79000">
                  <a:schemeClr val="tx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5801103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R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03810C-0168-8013-6BD1-DF4493DB8F41}"/>
              </a:ext>
            </a:extLst>
          </p:cNvPr>
          <p:cNvSpPr/>
          <p:nvPr userDrawn="1"/>
        </p:nvSpPr>
        <p:spPr bwMode="auto">
          <a:xfrm>
            <a:off x="242888" y="242888"/>
            <a:ext cx="11704637" cy="584835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GB" sz="9600" kern="0">
                <a:solidFill>
                  <a:schemeClr val="bg1"/>
                </a:solidFill>
              </a:rPr>
              <a:t>Do not use </a:t>
            </a:r>
            <a:br>
              <a:rPr lang="en-GB" sz="9600" kern="0">
                <a:solidFill>
                  <a:schemeClr val="bg1"/>
                </a:solidFill>
              </a:rPr>
            </a:br>
            <a:r>
              <a:rPr lang="en-GB" sz="9600" kern="0">
                <a:solidFill>
                  <a:schemeClr val="bg1"/>
                </a:solidFill>
              </a:rPr>
              <a:t>layouts that appear </a:t>
            </a:r>
            <a:br>
              <a:rPr lang="en-GB" sz="9600" kern="0">
                <a:solidFill>
                  <a:schemeClr val="bg1"/>
                </a:solidFill>
              </a:rPr>
            </a:br>
            <a:r>
              <a:rPr lang="en-GB" sz="9600" kern="0">
                <a:solidFill>
                  <a:schemeClr val="bg1"/>
                </a:solidFill>
              </a:rPr>
              <a:t>after this point</a:t>
            </a:r>
          </a:p>
        </p:txBody>
      </p:sp>
    </p:spTree>
    <p:extLst>
      <p:ext uri="{BB962C8B-B14F-4D97-AF65-F5344CB8AC3E}">
        <p14:creationId xmlns:p14="http://schemas.microsoft.com/office/powerpoint/2010/main" val="1371899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Question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question"/>
          <p:cNvSpPr>
            <a:spLocks noGrp="1"/>
          </p:cNvSpPr>
          <p:nvPr>
            <p:ph type="body" idx="10" hasCustomPrompt="1"/>
          </p:nvPr>
        </p:nvSpPr>
        <p:spPr>
          <a:xfrm>
            <a:off x="912283" y="1522413"/>
            <a:ext cx="10367432" cy="685800"/>
          </a:xfrm>
        </p:spPr>
        <p:txBody>
          <a:bodyPr/>
          <a:lstStyle>
            <a:lvl1pPr marL="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1pPr>
            <a:lvl2pPr marL="5222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2pPr>
            <a:lvl3pPr marL="9794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3pPr>
            <a:lvl4pPr marL="137160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4pPr>
            <a:lvl5pPr marL="1762125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5pPr>
          </a:lstStyle>
          <a:p>
            <a:pPr lvl="0"/>
            <a:r>
              <a:rPr lang="en-US"/>
              <a:t>Click to add question here</a:t>
            </a:r>
          </a:p>
        </p:txBody>
      </p:sp>
      <p:sp>
        <p:nvSpPr>
          <p:cNvPr id="4" name="choices"/>
          <p:cNvSpPr>
            <a:spLocks noGrp="1"/>
          </p:cNvSpPr>
          <p:nvPr>
            <p:ph type="body" sz="quarter" idx="11" hasCustomPrompt="1"/>
          </p:nvPr>
        </p:nvSpPr>
        <p:spPr>
          <a:xfrm>
            <a:off x="912284" y="2360613"/>
            <a:ext cx="4955645" cy="3810000"/>
          </a:xfrm>
          <a:prstGeom prst="rect">
            <a:avLst/>
          </a:prstGeom>
        </p:spPr>
        <p:txBody>
          <a:bodyPr>
            <a:normAutofit/>
          </a:bodyPr>
          <a:lstStyle>
            <a:lvl1pPr marL="612775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1pPr>
            <a:lvl2pPr marL="1036638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2pPr>
            <a:lvl3pPr marL="1436688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3pPr>
            <a:lvl4pPr marL="1828800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4pPr>
            <a:lvl5pPr marL="2219325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5pPr>
          </a:lstStyle>
          <a:p>
            <a:pPr lvl="0"/>
            <a:r>
              <a:rPr lang="en-US"/>
              <a:t>Click to add choices here</a:t>
            </a:r>
          </a:p>
        </p:txBody>
      </p:sp>
      <p:sp>
        <p:nvSpPr>
          <p:cNvPr id="5" name="chartPosition"/>
          <p:cNvSpPr>
            <a:spLocks noGrp="1"/>
          </p:cNvSpPr>
          <p:nvPr>
            <p:ph type="chart" sz="quarter" idx="12"/>
          </p:nvPr>
        </p:nvSpPr>
        <p:spPr>
          <a:xfrm>
            <a:off x="6324072" y="2360613"/>
            <a:ext cx="4955645" cy="381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437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7535" y="2347916"/>
            <a:ext cx="11425767" cy="162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17184" y="4283078"/>
            <a:ext cx="9408584" cy="1931987"/>
          </a:xfrm>
        </p:spPr>
        <p:txBody>
          <a:bodyPr/>
          <a:lstStyle>
            <a:lvl1pPr marL="0" indent="0" algn="ctr">
              <a:buNone/>
              <a:defRPr/>
            </a:lvl1pPr>
            <a:lvl2pPr marL="457058" indent="0" algn="ctr">
              <a:buNone/>
              <a:defRPr/>
            </a:lvl2pPr>
            <a:lvl3pPr marL="914115" indent="0" algn="ctr">
              <a:buNone/>
              <a:defRPr/>
            </a:lvl3pPr>
            <a:lvl4pPr marL="1371173" indent="0" algn="ctr">
              <a:buNone/>
              <a:defRPr/>
            </a:lvl4pPr>
            <a:lvl5pPr marL="1828231" indent="0" algn="ctr">
              <a:buNone/>
              <a:defRPr/>
            </a:lvl5pPr>
            <a:lvl6pPr marL="2285289" indent="0" algn="ctr">
              <a:buNone/>
              <a:defRPr/>
            </a:lvl6pPr>
            <a:lvl7pPr marL="2742347" indent="0" algn="ctr">
              <a:buNone/>
              <a:defRPr/>
            </a:lvl7pPr>
            <a:lvl8pPr marL="3199405" indent="0" algn="ctr">
              <a:buNone/>
              <a:defRPr/>
            </a:lvl8pPr>
            <a:lvl9pPr marL="3656462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0788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0878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2568" y="4857756"/>
            <a:ext cx="11423651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2568" y="3203577"/>
            <a:ext cx="11423651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58" indent="0">
              <a:buNone/>
              <a:defRPr sz="1800"/>
            </a:lvl2pPr>
            <a:lvl3pPr marL="914115" indent="0">
              <a:buNone/>
              <a:defRPr sz="1700"/>
            </a:lvl3pPr>
            <a:lvl4pPr marL="1371173" indent="0">
              <a:buNone/>
              <a:defRPr sz="1400"/>
            </a:lvl4pPr>
            <a:lvl5pPr marL="1828231" indent="0">
              <a:buNone/>
              <a:defRPr sz="1400"/>
            </a:lvl5pPr>
            <a:lvl6pPr marL="2285289" indent="0">
              <a:buNone/>
              <a:defRPr sz="1400"/>
            </a:lvl6pPr>
            <a:lvl7pPr marL="2742347" indent="0">
              <a:buNone/>
              <a:defRPr sz="1400"/>
            </a:lvl7pPr>
            <a:lvl8pPr marL="3199405" indent="0">
              <a:buNone/>
              <a:defRPr sz="1400"/>
            </a:lvl8pPr>
            <a:lvl9pPr marL="3656462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2608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6863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4" y="303219"/>
            <a:ext cx="12096751" cy="1258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3101" y="1692275"/>
            <a:ext cx="5937251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3101" y="2397125"/>
            <a:ext cx="5937251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28371" y="1692275"/>
            <a:ext cx="5941484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28371" y="2397125"/>
            <a:ext cx="5941484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7715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5085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4750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301625"/>
            <a:ext cx="4421717" cy="12795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5690" y="301628"/>
            <a:ext cx="7514167" cy="64515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3100" y="1581156"/>
            <a:ext cx="4421717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7148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5255" y="5291143"/>
            <a:ext cx="806450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35255" y="674691"/>
            <a:ext cx="8064500" cy="4537075"/>
          </a:xfrm>
        </p:spPr>
        <p:txBody>
          <a:bodyPr/>
          <a:lstStyle>
            <a:lvl1pPr marL="0" indent="0">
              <a:buNone/>
              <a:defRPr sz="3200"/>
            </a:lvl1pPr>
            <a:lvl2pPr marL="457058" indent="0">
              <a:buNone/>
              <a:defRPr sz="2800"/>
            </a:lvl2pPr>
            <a:lvl3pPr marL="914115" indent="0">
              <a:buNone/>
              <a:defRPr sz="2400"/>
            </a:lvl3pPr>
            <a:lvl4pPr marL="1371173" indent="0">
              <a:buNone/>
              <a:defRPr sz="2000"/>
            </a:lvl4pPr>
            <a:lvl5pPr marL="1828231" indent="0">
              <a:buNone/>
              <a:defRPr sz="2000"/>
            </a:lvl5pPr>
            <a:lvl6pPr marL="2285289" indent="0">
              <a:buNone/>
              <a:defRPr sz="2000"/>
            </a:lvl6pPr>
            <a:lvl7pPr marL="2742347" indent="0">
              <a:buNone/>
              <a:defRPr sz="2000"/>
            </a:lvl7pPr>
            <a:lvl8pPr marL="3199405" indent="0">
              <a:buNone/>
              <a:defRPr sz="2000"/>
            </a:lvl8pPr>
            <a:lvl9pPr marL="3656462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35255" y="5916613"/>
            <a:ext cx="8064500" cy="887412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8223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571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Clock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922001" y="5905503"/>
            <a:ext cx="846667" cy="483015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r>
              <a:rPr kumimoji="0" lang="en-US" sz="2400" b="0" i="0" u="none" strike="noStrike" cap="none" normalizeH="0" baseline="0">
                <a:ln>
                  <a:noFill/>
                </a:ln>
                <a:effectLst/>
                <a:latin typeface="Times New Roman" pitchFamily="18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4672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2738" y="627063"/>
            <a:ext cx="2868084" cy="62357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86369" y="627063"/>
            <a:ext cx="8403167" cy="62357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304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368" y="627068"/>
            <a:ext cx="11474451" cy="12604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812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227013"/>
            <a:ext cx="10358967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2286" y="1416053"/>
            <a:ext cx="10358967" cy="4799013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96140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10363200" cy="1219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1828800"/>
            <a:ext cx="103632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0A90E337-F800-1146-8455-677861B99144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3373626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Question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question"/>
          <p:cNvSpPr>
            <a:spLocks noGrp="1"/>
          </p:cNvSpPr>
          <p:nvPr>
            <p:ph type="body" idx="10" hasCustomPrompt="1"/>
          </p:nvPr>
        </p:nvSpPr>
        <p:spPr>
          <a:xfrm>
            <a:off x="912283" y="1522413"/>
            <a:ext cx="10367432" cy="685800"/>
          </a:xfrm>
        </p:spPr>
        <p:txBody>
          <a:bodyPr/>
          <a:lstStyle>
            <a:lvl1pPr marL="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1pPr>
            <a:lvl2pPr marL="5222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2pPr>
            <a:lvl3pPr marL="9794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3pPr>
            <a:lvl4pPr marL="137160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4pPr>
            <a:lvl5pPr marL="1762125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5pPr>
          </a:lstStyle>
          <a:p>
            <a:pPr lvl="0"/>
            <a:r>
              <a:rPr lang="en-US"/>
              <a:t>Click to add question here</a:t>
            </a:r>
          </a:p>
        </p:txBody>
      </p:sp>
      <p:sp>
        <p:nvSpPr>
          <p:cNvPr id="4" name="choices"/>
          <p:cNvSpPr>
            <a:spLocks noGrp="1"/>
          </p:cNvSpPr>
          <p:nvPr>
            <p:ph type="body" sz="quarter" idx="11" hasCustomPrompt="1"/>
          </p:nvPr>
        </p:nvSpPr>
        <p:spPr>
          <a:xfrm>
            <a:off x="912284" y="2360613"/>
            <a:ext cx="4955645" cy="3810000"/>
          </a:xfrm>
          <a:prstGeom prst="rect">
            <a:avLst/>
          </a:prstGeom>
        </p:spPr>
        <p:txBody>
          <a:bodyPr>
            <a:normAutofit/>
          </a:bodyPr>
          <a:lstStyle>
            <a:lvl1pPr marL="612775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1pPr>
            <a:lvl2pPr marL="1036638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2pPr>
            <a:lvl3pPr marL="1436688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3pPr>
            <a:lvl4pPr marL="1828800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4pPr>
            <a:lvl5pPr marL="2219325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5pPr>
          </a:lstStyle>
          <a:p>
            <a:pPr lvl="0"/>
            <a:r>
              <a:rPr lang="en-US"/>
              <a:t>Click to add choices here</a:t>
            </a:r>
          </a:p>
        </p:txBody>
      </p:sp>
      <p:sp>
        <p:nvSpPr>
          <p:cNvPr id="5" name="chartPosition"/>
          <p:cNvSpPr>
            <a:spLocks noGrp="1"/>
          </p:cNvSpPr>
          <p:nvPr>
            <p:ph type="chart" sz="quarter" idx="12"/>
          </p:nvPr>
        </p:nvSpPr>
        <p:spPr>
          <a:xfrm>
            <a:off x="6324072" y="2360613"/>
            <a:ext cx="4955645" cy="381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2712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Clock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922001" y="5905503"/>
            <a:ext cx="846667" cy="483015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r>
              <a:rPr kumimoji="0" lang="en-US" sz="2400" b="0" i="0" u="none" strike="noStrike" cap="none" normalizeH="0" baseline="0">
                <a:ln>
                  <a:noFill/>
                </a:ln>
                <a:effectLst/>
                <a:latin typeface="Times New Roman" pitchFamily="18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438355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423937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18216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9847" y="2069902"/>
            <a:ext cx="11425767" cy="162083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9496" y="4005064"/>
            <a:ext cx="9408584" cy="1931987"/>
          </a:xfrm>
        </p:spPr>
        <p:txBody>
          <a:bodyPr/>
          <a:lstStyle>
            <a:lvl1pPr marL="0" indent="0" algn="ctr">
              <a:buNone/>
              <a:defRPr/>
            </a:lvl1pPr>
            <a:lvl2pPr marL="457058" indent="0" algn="ctr">
              <a:buNone/>
              <a:defRPr/>
            </a:lvl2pPr>
            <a:lvl3pPr marL="914115" indent="0" algn="ctr">
              <a:buNone/>
              <a:defRPr/>
            </a:lvl3pPr>
            <a:lvl4pPr marL="1371173" indent="0" algn="ctr">
              <a:buNone/>
              <a:defRPr/>
            </a:lvl4pPr>
            <a:lvl5pPr marL="1828231" indent="0" algn="ctr">
              <a:buNone/>
              <a:defRPr/>
            </a:lvl5pPr>
            <a:lvl6pPr marL="2285289" indent="0" algn="ctr">
              <a:buNone/>
              <a:defRPr/>
            </a:lvl6pPr>
            <a:lvl7pPr marL="2742347" indent="0" algn="ctr">
              <a:buNone/>
              <a:defRPr/>
            </a:lvl7pPr>
            <a:lvl8pPr marL="3199405" indent="0" algn="ctr">
              <a:buNone/>
              <a:defRPr/>
            </a:lvl8pPr>
            <a:lvl9pPr marL="3656462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62807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2286" y="1416053"/>
            <a:ext cx="10358967" cy="460523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7990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336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627" y="4507115"/>
            <a:ext cx="11423651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627" y="2852936"/>
            <a:ext cx="11423651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58" indent="0">
              <a:buNone/>
              <a:defRPr sz="1800"/>
            </a:lvl2pPr>
            <a:lvl3pPr marL="914115" indent="0">
              <a:buNone/>
              <a:defRPr sz="1700"/>
            </a:lvl3pPr>
            <a:lvl4pPr marL="1371173" indent="0">
              <a:buNone/>
              <a:defRPr sz="1400"/>
            </a:lvl4pPr>
            <a:lvl5pPr marL="1828231" indent="0">
              <a:buNone/>
              <a:defRPr sz="1400"/>
            </a:lvl5pPr>
            <a:lvl6pPr marL="2285289" indent="0">
              <a:buNone/>
              <a:defRPr sz="1400"/>
            </a:lvl6pPr>
            <a:lvl7pPr marL="2742347" indent="0">
              <a:buNone/>
              <a:defRPr sz="1400"/>
            </a:lvl7pPr>
            <a:lvl8pPr marL="3199405" indent="0">
              <a:buNone/>
              <a:defRPr sz="1400"/>
            </a:lvl8pPr>
            <a:lvl9pPr marL="3656462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4051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244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4" y="303219"/>
            <a:ext cx="12096751" cy="1258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3101" y="1692275"/>
            <a:ext cx="5937251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3101" y="2397125"/>
            <a:ext cx="5937251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28371" y="1692275"/>
            <a:ext cx="5941484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28371" y="2397125"/>
            <a:ext cx="5941484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1682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8892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1068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301625"/>
            <a:ext cx="4421717" cy="12795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5690" y="301628"/>
            <a:ext cx="7514167" cy="64515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3100" y="1581156"/>
            <a:ext cx="4421717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8563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5255" y="5291143"/>
            <a:ext cx="806450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35255" y="674691"/>
            <a:ext cx="8064500" cy="4537075"/>
          </a:xfrm>
        </p:spPr>
        <p:txBody>
          <a:bodyPr/>
          <a:lstStyle>
            <a:lvl1pPr marL="0" indent="0">
              <a:buNone/>
              <a:defRPr sz="3200"/>
            </a:lvl1pPr>
            <a:lvl2pPr marL="457058" indent="0">
              <a:buNone/>
              <a:defRPr sz="2800"/>
            </a:lvl2pPr>
            <a:lvl3pPr marL="914115" indent="0">
              <a:buNone/>
              <a:defRPr sz="2400"/>
            </a:lvl3pPr>
            <a:lvl4pPr marL="1371173" indent="0">
              <a:buNone/>
              <a:defRPr sz="2000"/>
            </a:lvl4pPr>
            <a:lvl5pPr marL="1828231" indent="0">
              <a:buNone/>
              <a:defRPr sz="2000"/>
            </a:lvl5pPr>
            <a:lvl6pPr marL="2285289" indent="0">
              <a:buNone/>
              <a:defRPr sz="2000"/>
            </a:lvl6pPr>
            <a:lvl7pPr marL="2742347" indent="0">
              <a:buNone/>
              <a:defRPr sz="2000"/>
            </a:lvl7pPr>
            <a:lvl8pPr marL="3199405" indent="0">
              <a:buNone/>
              <a:defRPr sz="2000"/>
            </a:lvl8pPr>
            <a:lvl9pPr marL="3656462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35255" y="5916613"/>
            <a:ext cx="8064500" cy="887412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6414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5360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2738" y="627063"/>
            <a:ext cx="2868084" cy="62357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86369" y="627063"/>
            <a:ext cx="8403167" cy="62357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4799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368" y="627068"/>
            <a:ext cx="11474451" cy="12604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5204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2568" y="4857756"/>
            <a:ext cx="11423651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2568" y="3203577"/>
            <a:ext cx="11423651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58" indent="0">
              <a:buNone/>
              <a:defRPr sz="1800"/>
            </a:lvl2pPr>
            <a:lvl3pPr marL="914115" indent="0">
              <a:buNone/>
              <a:defRPr sz="1700"/>
            </a:lvl3pPr>
            <a:lvl4pPr marL="1371173" indent="0">
              <a:buNone/>
              <a:defRPr sz="1400"/>
            </a:lvl4pPr>
            <a:lvl5pPr marL="1828231" indent="0">
              <a:buNone/>
              <a:defRPr sz="1400"/>
            </a:lvl5pPr>
            <a:lvl6pPr marL="2285289" indent="0">
              <a:buNone/>
              <a:defRPr sz="1400"/>
            </a:lvl6pPr>
            <a:lvl7pPr marL="2742347" indent="0">
              <a:buNone/>
              <a:defRPr sz="1400"/>
            </a:lvl7pPr>
            <a:lvl8pPr marL="3199405" indent="0">
              <a:buNone/>
              <a:defRPr sz="1400"/>
            </a:lvl8pPr>
            <a:lvl9pPr marL="3656462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9214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227013"/>
            <a:ext cx="10358967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2286" y="1416053"/>
            <a:ext cx="10358967" cy="4799013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6118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10363200" cy="1219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1828800"/>
            <a:ext cx="103632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0A90E337-F800-1146-8455-677861B99144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260872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Question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question"/>
          <p:cNvSpPr>
            <a:spLocks noGrp="1"/>
          </p:cNvSpPr>
          <p:nvPr>
            <p:ph type="body" idx="10" hasCustomPrompt="1"/>
          </p:nvPr>
        </p:nvSpPr>
        <p:spPr>
          <a:xfrm>
            <a:off x="912283" y="1522413"/>
            <a:ext cx="10367432" cy="685800"/>
          </a:xfrm>
        </p:spPr>
        <p:txBody>
          <a:bodyPr/>
          <a:lstStyle>
            <a:lvl1pPr marL="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1pPr>
            <a:lvl2pPr marL="5222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2pPr>
            <a:lvl3pPr marL="9794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3pPr>
            <a:lvl4pPr marL="137160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4pPr>
            <a:lvl5pPr marL="1762125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5pPr>
          </a:lstStyle>
          <a:p>
            <a:pPr lvl="0"/>
            <a:r>
              <a:rPr lang="en-US"/>
              <a:t>Click to add question here</a:t>
            </a:r>
          </a:p>
        </p:txBody>
      </p:sp>
      <p:sp>
        <p:nvSpPr>
          <p:cNvPr id="4" name="choices"/>
          <p:cNvSpPr>
            <a:spLocks noGrp="1"/>
          </p:cNvSpPr>
          <p:nvPr>
            <p:ph type="body" sz="quarter" idx="11" hasCustomPrompt="1"/>
          </p:nvPr>
        </p:nvSpPr>
        <p:spPr>
          <a:xfrm>
            <a:off x="912284" y="2360613"/>
            <a:ext cx="4955645" cy="3810000"/>
          </a:xfrm>
          <a:prstGeom prst="rect">
            <a:avLst/>
          </a:prstGeom>
        </p:spPr>
        <p:txBody>
          <a:bodyPr>
            <a:normAutofit/>
          </a:bodyPr>
          <a:lstStyle>
            <a:lvl1pPr marL="612775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1pPr>
            <a:lvl2pPr marL="1036638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2pPr>
            <a:lvl3pPr marL="1436688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3pPr>
            <a:lvl4pPr marL="1828800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4pPr>
            <a:lvl5pPr marL="2219325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5pPr>
          </a:lstStyle>
          <a:p>
            <a:pPr lvl="0"/>
            <a:r>
              <a:rPr lang="en-US"/>
              <a:t>Click to add choices here</a:t>
            </a:r>
          </a:p>
        </p:txBody>
      </p:sp>
      <p:sp>
        <p:nvSpPr>
          <p:cNvPr id="5" name="chartPosition"/>
          <p:cNvSpPr>
            <a:spLocks noGrp="1"/>
          </p:cNvSpPr>
          <p:nvPr>
            <p:ph type="chart" sz="quarter" idx="12"/>
          </p:nvPr>
        </p:nvSpPr>
        <p:spPr>
          <a:xfrm>
            <a:off x="6324072" y="2360613"/>
            <a:ext cx="4955645" cy="381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454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Clock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922001" y="5905503"/>
            <a:ext cx="846667" cy="483015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r>
              <a:rPr kumimoji="0" lang="en-US" sz="2400" b="0" i="0" u="none" strike="noStrike" cap="none" normalizeH="0" baseline="0">
                <a:ln>
                  <a:noFill/>
                </a:ln>
                <a:effectLst/>
                <a:latin typeface="Times New Roman" pitchFamily="18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12871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54065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/>
              <a:t>5/12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4202" y="6441567"/>
            <a:ext cx="6043601" cy="164148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E66119-3E50-4912-A6A4-0A2C058524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368" y="5791202"/>
            <a:ext cx="4906433" cy="395817"/>
          </a:xfrm>
        </p:spPr>
        <p:txBody>
          <a:bodyPr anchor="b" anchorCtr="0"/>
          <a:lstStyle>
            <a:lvl1pPr marL="0" indent="0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bbreviation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2D06BD1-1203-411A-80B7-868D8D7562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26676" y="5801362"/>
            <a:ext cx="4906433" cy="395817"/>
          </a:xfrm>
        </p:spPr>
        <p:txBody>
          <a:bodyPr anchor="b" anchorCtr="0"/>
          <a:lstStyle>
            <a:lvl1pPr marL="0" indent="0" algn="r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9354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524453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>
                <a:cs typeface="ＭＳ Ｐゴシック"/>
              </a:rPr>
              <a:pPr>
                <a:defRPr/>
              </a:pPr>
              <a:t>‹#›</a:t>
            </a:fld>
            <a:endParaRPr lang="en-GB"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203527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2E99AA7-133A-E54F-B877-701653B6C8E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8245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6210780"/>
            <a:ext cx="5488517" cy="447993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98118" y="6210780"/>
            <a:ext cx="5488517" cy="447993"/>
          </a:xfrm>
        </p:spPr>
        <p:txBody>
          <a:bodyPr anchor="b"/>
          <a:lstStyle>
            <a:lvl1pPr marL="0" indent="0" algn="r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3858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935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7" y="6631087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1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1022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115889"/>
            <a:ext cx="10991849" cy="779671"/>
          </a:xfrm>
        </p:spPr>
        <p:txBody>
          <a:bodyPr>
            <a:normAutofit/>
          </a:bodyPr>
          <a:lstStyle>
            <a:lvl1pPr algn="l">
              <a:defRPr sz="2800" b="1" i="0">
                <a:solidFill>
                  <a:srgbClr val="064F59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7284" y="1376989"/>
            <a:ext cx="10972800" cy="4525963"/>
          </a:xfrm>
        </p:spPr>
        <p:txBody>
          <a:bodyPr lIns="0" rtlCol="0">
            <a:normAutofit/>
          </a:bodyPr>
          <a:lstStyle>
            <a:lvl1pPr>
              <a:defRPr lang="en-US" sz="2100" dirty="0" smtClean="0"/>
            </a:lvl1pPr>
            <a:lvl2pPr>
              <a:defRPr lang="en-US" sz="2000" dirty="0" smtClean="0"/>
            </a:lvl2pPr>
            <a:lvl3pPr>
              <a:defRPr lang="en-US" sz="20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615951" y="6289940"/>
            <a:ext cx="10993967" cy="463313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None/>
              <a:defRPr sz="1000" b="0">
                <a:solidFill>
                  <a:srgbClr val="064F5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9012767" y="6491289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rgbClr val="064F59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65B40A2-B197-3B46-BE14-65D655D548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64F59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82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020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2059" y="2347916"/>
            <a:ext cx="11425767" cy="162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91708" y="4283078"/>
            <a:ext cx="9408584" cy="1931987"/>
          </a:xfrm>
        </p:spPr>
        <p:txBody>
          <a:bodyPr/>
          <a:lstStyle>
            <a:lvl1pPr marL="0" indent="0" algn="ctr">
              <a:buNone/>
              <a:defRPr/>
            </a:lvl1pPr>
            <a:lvl2pPr marL="457058" indent="0" algn="ctr">
              <a:buNone/>
              <a:defRPr/>
            </a:lvl2pPr>
            <a:lvl3pPr marL="914115" indent="0" algn="ctr">
              <a:buNone/>
              <a:defRPr/>
            </a:lvl3pPr>
            <a:lvl4pPr marL="1371173" indent="0" algn="ctr">
              <a:buNone/>
              <a:defRPr/>
            </a:lvl4pPr>
            <a:lvl5pPr marL="1828231" indent="0" algn="ctr">
              <a:buNone/>
              <a:defRPr/>
            </a:lvl5pPr>
            <a:lvl6pPr marL="2285289" indent="0" algn="ctr">
              <a:buNone/>
              <a:defRPr/>
            </a:lvl6pPr>
            <a:lvl7pPr marL="2742347" indent="0" algn="ctr">
              <a:buNone/>
              <a:defRPr/>
            </a:lvl7pPr>
            <a:lvl8pPr marL="3199405" indent="0" algn="ctr">
              <a:buNone/>
              <a:defRPr/>
            </a:lvl8pPr>
            <a:lvl9pPr marL="3656462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18228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2286" y="1416053"/>
            <a:ext cx="10358967" cy="46772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4964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4363099"/>
            <a:ext cx="11423651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5400" y="2708920"/>
            <a:ext cx="11423651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58" indent="0">
              <a:buNone/>
              <a:defRPr sz="1800"/>
            </a:lvl2pPr>
            <a:lvl3pPr marL="914115" indent="0">
              <a:buNone/>
              <a:defRPr sz="1700"/>
            </a:lvl3pPr>
            <a:lvl4pPr marL="1371173" indent="0">
              <a:buNone/>
              <a:defRPr sz="1400"/>
            </a:lvl4pPr>
            <a:lvl5pPr marL="1828231" indent="0">
              <a:buNone/>
              <a:defRPr sz="1400"/>
            </a:lvl5pPr>
            <a:lvl6pPr marL="2285289" indent="0">
              <a:buNone/>
              <a:defRPr sz="1400"/>
            </a:lvl6pPr>
            <a:lvl7pPr marL="2742347" indent="0">
              <a:buNone/>
              <a:defRPr sz="1400"/>
            </a:lvl7pPr>
            <a:lvl8pPr marL="3199405" indent="0">
              <a:buNone/>
              <a:defRPr sz="1400"/>
            </a:lvl8pPr>
            <a:lvl9pPr marL="3656462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8632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6833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4" y="303219"/>
            <a:ext cx="12096751" cy="1258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3101" y="1692275"/>
            <a:ext cx="5937251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3101" y="2397125"/>
            <a:ext cx="5937251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28371" y="1692275"/>
            <a:ext cx="5941484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28371" y="2397125"/>
            <a:ext cx="5941484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1516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9267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2207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4" y="303219"/>
            <a:ext cx="12096751" cy="1258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3101" y="1692275"/>
            <a:ext cx="5937251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3101" y="2397125"/>
            <a:ext cx="5937251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28371" y="1692275"/>
            <a:ext cx="5941484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28371" y="2397125"/>
            <a:ext cx="5941484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7798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301625"/>
            <a:ext cx="4421717" cy="12795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5690" y="301628"/>
            <a:ext cx="7514167" cy="64515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3100" y="1581156"/>
            <a:ext cx="4421717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4452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5255" y="5291143"/>
            <a:ext cx="806450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35255" y="674691"/>
            <a:ext cx="8064500" cy="4537075"/>
          </a:xfrm>
        </p:spPr>
        <p:txBody>
          <a:bodyPr/>
          <a:lstStyle>
            <a:lvl1pPr marL="0" indent="0">
              <a:buNone/>
              <a:defRPr sz="3200"/>
            </a:lvl1pPr>
            <a:lvl2pPr marL="457058" indent="0">
              <a:buNone/>
              <a:defRPr sz="2800"/>
            </a:lvl2pPr>
            <a:lvl3pPr marL="914115" indent="0">
              <a:buNone/>
              <a:defRPr sz="2400"/>
            </a:lvl3pPr>
            <a:lvl4pPr marL="1371173" indent="0">
              <a:buNone/>
              <a:defRPr sz="2000"/>
            </a:lvl4pPr>
            <a:lvl5pPr marL="1828231" indent="0">
              <a:buNone/>
              <a:defRPr sz="2000"/>
            </a:lvl5pPr>
            <a:lvl6pPr marL="2285289" indent="0">
              <a:buNone/>
              <a:defRPr sz="2000"/>
            </a:lvl6pPr>
            <a:lvl7pPr marL="2742347" indent="0">
              <a:buNone/>
              <a:defRPr sz="2000"/>
            </a:lvl7pPr>
            <a:lvl8pPr marL="3199405" indent="0">
              <a:buNone/>
              <a:defRPr sz="2000"/>
            </a:lvl8pPr>
            <a:lvl9pPr marL="3656462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35255" y="5916613"/>
            <a:ext cx="8064500" cy="887412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788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186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2738" y="627063"/>
            <a:ext cx="2868084" cy="62357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86369" y="627063"/>
            <a:ext cx="8403167" cy="62357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523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1_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368" y="627068"/>
            <a:ext cx="11474451" cy="12604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1101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227013"/>
            <a:ext cx="10358967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2286" y="1416053"/>
            <a:ext cx="10358967" cy="4799013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50568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10363200" cy="1219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1828800"/>
            <a:ext cx="103632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0A90E337-F800-1146-8455-677861B99144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1987820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Keypoint Question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question"/>
          <p:cNvSpPr>
            <a:spLocks noGrp="1"/>
          </p:cNvSpPr>
          <p:nvPr>
            <p:ph type="body" idx="10" hasCustomPrompt="1"/>
          </p:nvPr>
        </p:nvSpPr>
        <p:spPr>
          <a:xfrm>
            <a:off x="912283" y="1522413"/>
            <a:ext cx="10367432" cy="685800"/>
          </a:xfrm>
        </p:spPr>
        <p:txBody>
          <a:bodyPr/>
          <a:lstStyle>
            <a:lvl1pPr marL="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1pPr>
            <a:lvl2pPr marL="5222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2pPr>
            <a:lvl3pPr marL="9794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3pPr>
            <a:lvl4pPr marL="137160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4pPr>
            <a:lvl5pPr marL="1762125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5pPr>
          </a:lstStyle>
          <a:p>
            <a:pPr lvl="0"/>
            <a:r>
              <a:rPr lang="en-US"/>
              <a:t>Click to add question here</a:t>
            </a:r>
          </a:p>
        </p:txBody>
      </p:sp>
      <p:sp>
        <p:nvSpPr>
          <p:cNvPr id="4" name="choices"/>
          <p:cNvSpPr>
            <a:spLocks noGrp="1"/>
          </p:cNvSpPr>
          <p:nvPr>
            <p:ph type="body" sz="quarter" idx="11" hasCustomPrompt="1"/>
          </p:nvPr>
        </p:nvSpPr>
        <p:spPr>
          <a:xfrm>
            <a:off x="912284" y="2360613"/>
            <a:ext cx="4955645" cy="3810000"/>
          </a:xfrm>
          <a:prstGeom prst="rect">
            <a:avLst/>
          </a:prstGeom>
        </p:spPr>
        <p:txBody>
          <a:bodyPr>
            <a:normAutofit/>
          </a:bodyPr>
          <a:lstStyle>
            <a:lvl1pPr marL="612775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1pPr>
            <a:lvl2pPr marL="1036638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2pPr>
            <a:lvl3pPr marL="1436688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3pPr>
            <a:lvl4pPr marL="1828800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4pPr>
            <a:lvl5pPr marL="2219325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5pPr>
          </a:lstStyle>
          <a:p>
            <a:pPr lvl="0"/>
            <a:r>
              <a:rPr lang="en-US"/>
              <a:t>Click to add choices here</a:t>
            </a:r>
          </a:p>
        </p:txBody>
      </p:sp>
      <p:sp>
        <p:nvSpPr>
          <p:cNvPr id="5" name="chartPosition"/>
          <p:cNvSpPr>
            <a:spLocks noGrp="1"/>
          </p:cNvSpPr>
          <p:nvPr>
            <p:ph type="chart" sz="quarter" idx="12"/>
          </p:nvPr>
        </p:nvSpPr>
        <p:spPr>
          <a:xfrm>
            <a:off x="6324072" y="2360613"/>
            <a:ext cx="4955645" cy="381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95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Keypoint Clock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922001" y="5905503"/>
            <a:ext cx="846667" cy="483015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r>
              <a:rPr kumimoji="0" lang="en-US" sz="2400" b="0" i="0" u="none" strike="noStrike" cap="none" normalizeH="0" baseline="0">
                <a:ln>
                  <a:noFill/>
                </a:ln>
                <a:effectLst/>
                <a:latin typeface="Times New Roman" pitchFamily="18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454413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498622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6812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/>
              <a:t>5/12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4202" y="6441567"/>
            <a:ext cx="6043601" cy="164148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E66119-3E50-4912-A6A4-0A2C058524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368" y="5791202"/>
            <a:ext cx="4906433" cy="395817"/>
          </a:xfrm>
        </p:spPr>
        <p:txBody>
          <a:bodyPr anchor="b" anchorCtr="0"/>
          <a:lstStyle>
            <a:lvl1pPr marL="0" indent="0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bbreviation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2D06BD1-1203-411A-80B7-868D8D7562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26676" y="5801362"/>
            <a:ext cx="4906433" cy="395817"/>
          </a:xfrm>
        </p:spPr>
        <p:txBody>
          <a:bodyPr anchor="b" anchorCtr="0"/>
          <a:lstStyle>
            <a:lvl1pPr marL="0" indent="0" algn="r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83088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588406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>
                <a:cs typeface="ＭＳ Ｐゴシック"/>
              </a:rPr>
              <a:pPr>
                <a:defRPr/>
              </a:pPr>
              <a:t>‹#›</a:t>
            </a:fld>
            <a:endParaRPr lang="en-GB"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6732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2E99AA7-133A-E54F-B877-701653B6C8E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7244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6210780"/>
            <a:ext cx="5488517" cy="447993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98118" y="6210780"/>
            <a:ext cx="5488517" cy="447993"/>
          </a:xfrm>
        </p:spPr>
        <p:txBody>
          <a:bodyPr anchor="b"/>
          <a:lstStyle>
            <a:lvl1pPr marL="0" indent="0" algn="r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8770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7" y="6631087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1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6890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115889"/>
            <a:ext cx="10991849" cy="779671"/>
          </a:xfrm>
        </p:spPr>
        <p:txBody>
          <a:bodyPr>
            <a:normAutofit/>
          </a:bodyPr>
          <a:lstStyle>
            <a:lvl1pPr algn="l">
              <a:defRPr sz="2800" b="1" i="0">
                <a:solidFill>
                  <a:srgbClr val="064F59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7284" y="1376989"/>
            <a:ext cx="10972800" cy="4525963"/>
          </a:xfrm>
        </p:spPr>
        <p:txBody>
          <a:bodyPr lIns="0" rtlCol="0">
            <a:normAutofit/>
          </a:bodyPr>
          <a:lstStyle>
            <a:lvl1pPr>
              <a:defRPr lang="en-US" sz="2100" dirty="0" smtClean="0"/>
            </a:lvl1pPr>
            <a:lvl2pPr>
              <a:defRPr lang="en-US" sz="2000" dirty="0" smtClean="0"/>
            </a:lvl2pPr>
            <a:lvl3pPr>
              <a:defRPr lang="en-US" sz="20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615951" y="6289940"/>
            <a:ext cx="10993967" cy="463313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None/>
              <a:defRPr sz="1000" b="0">
                <a:solidFill>
                  <a:srgbClr val="064F5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9012767" y="6491289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rgbClr val="064F59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65B40A2-B197-3B46-BE14-65D655D5485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64F59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269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1295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3959F577-91FC-1E02-B313-60F10DC628E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A8574C87-D8A7-A83F-90CD-138354F3AD5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ADAB5FBB-910B-E3AB-3A7A-1FC5760E432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330FC4-69FC-B148-A8AF-E2D87049B87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4336801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8D136D2A-699A-AAD2-A8B6-A407D5C421C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1459A965-67BC-8E2C-C8B0-E6939F4B6BD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F386531A-AA10-42F4-878A-F8D91204A85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665DD7-C861-FC48-B545-10CB1459D619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703341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233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BB1744E7-79DF-8C77-5060-5B1E31996D74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45DE2114-424F-A3B4-8C85-C85D4221BE4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36491AC1-B7FB-1608-DAF8-97F38098128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A66B34-4C53-4142-B6D1-4513503CE51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0386953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6764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764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E67CAD4-F048-C210-A676-B6BFC25050E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0755531-F1DD-B9F6-AD16-E4B4E585F0EA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1EA870B-30FB-3AF7-1292-C351174C87D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FE501D-F1C0-A140-B2FC-190CFECE3BA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7842463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C1CB3C65-BC83-28C8-BA56-1B107F31EC8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3040AF03-2C9F-D9B4-18D1-58C5E6FE607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2A018599-BD54-2A2F-22BE-6332A81DE81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36CB32-E51E-984E-9168-9077E107CD62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3662130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7F5B557B-C7A5-F315-1A90-292D35306EA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CFA083C9-3F96-BCCF-759C-B408CBE8464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42183FDB-A848-AA1E-7876-C3B28B384FF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7956FE-1D6E-6C43-BD58-CD9983D6E8D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8694892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AD7487D1-6A27-D2AF-174C-9C2453F2E914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F410FBC0-F351-A5DA-D91A-BDB6BE653AE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2EBFC3D9-D935-B7BD-7840-E2DBBE2925A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189AE1-72EE-0C4F-9B09-547758AF44F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6908174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C012CE3-E9C5-5807-1B59-CFF3B13C806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62AFF71-0B1A-6499-8467-0CB7B4EEBD6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4C9900F-1727-89EB-BF45-8EB068517CA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03FF2F-5F2A-5449-B13E-C3BBE07F297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1933522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C830994-E86D-93D2-4D2C-49B1BFFF557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F0B4D4F-0A0F-C6C3-988C-76CEE48AF31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0D4B6DD-E7B2-2516-B22B-564A15319B6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0D0BE2-DAC0-D240-8DAF-84E6CD4F51B5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02140339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8836DA63-D919-8F02-ABF8-35A1B592BE7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83519CAA-8352-2055-97F2-503C53BB3D2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390B96BE-D6C6-185C-D8D3-126CA31790E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C8066B-F343-5140-AE4E-C09417C6AD01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217808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0" y="304800"/>
            <a:ext cx="2590800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304800"/>
            <a:ext cx="7569200" cy="5486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C0AB8E47-9FC7-7635-C77B-1892C7A28BC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B99751B8-CB45-7091-DC12-CECB473EC0E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610682D2-1D74-534B-AA4D-883A8DDCB7F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D03893-88B6-4246-85DA-7A93CC334C0B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1108549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304800"/>
            <a:ext cx="103632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4400" y="1676400"/>
            <a:ext cx="10363200" cy="411480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55CC8317-138D-4EEC-FCB2-44EEBD42154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54696AAC-9218-9B05-397E-3B5A64E5AFE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D1A1A6B5-4986-E140-D641-BDD42796D99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19CA26-549D-C941-9CB9-6D6DAB0E667B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551284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301625"/>
            <a:ext cx="4421717" cy="12795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5690" y="301628"/>
            <a:ext cx="7514167" cy="64515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3100" y="1581156"/>
            <a:ext cx="4421717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992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2B86C796-FF9D-2864-5455-48FA5A0892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Υπότιτλος 2">
            <a:extLst>
              <a:ext uri="{FF2B5EF4-FFF2-40B4-BE49-F238E27FC236}">
                <a16:creationId xmlns:a16="http://schemas.microsoft.com/office/drawing/2014/main" id="{E7FEC1B8-BD57-C354-EA52-0BED8EEA4D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l-GR"/>
              <a:t>Κάντε κλικ για να επεξεργαστείτε τον υπότιτλο του υποδείγματος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0DD331CD-7E39-4330-F539-3647292189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12/5/25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3C95F60B-377B-76EC-8625-45701256EA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6E97877C-E70E-C69B-66EF-B76706023E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78699286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73C21999-A843-3C13-E37B-BFAE03F4FA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περιεχομένου 2">
            <a:extLst>
              <a:ext uri="{FF2B5EF4-FFF2-40B4-BE49-F238E27FC236}">
                <a16:creationId xmlns:a16="http://schemas.microsoft.com/office/drawing/2014/main" id="{BA078926-E2DD-AF28-A615-D4A2C1B8A4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FD2161DD-8DC5-39A8-B203-F0A1985D46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12/5/25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626C59FB-04E1-6DB8-AB8F-7985E09F2D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FCE828F7-08A1-5F66-9E15-575A0ACD83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39875827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177679CD-F37E-CF60-997E-399647D9B6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ειμένου 2">
            <a:extLst>
              <a:ext uri="{FF2B5EF4-FFF2-40B4-BE49-F238E27FC236}">
                <a16:creationId xmlns:a16="http://schemas.microsoft.com/office/drawing/2014/main" id="{AB22DE6C-9A6F-A4C0-C90E-2F218914CC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D91ABAC0-0827-D901-5337-3D6A683010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12/5/25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0207A65A-7BCB-A506-F5E5-C83BEB6B9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5DB21BC7-6EF5-14D2-A5DF-1973B04B6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11890365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C364438F-772E-DBD4-8A73-9B6944C80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περιεχομένου 2">
            <a:extLst>
              <a:ext uri="{FF2B5EF4-FFF2-40B4-BE49-F238E27FC236}">
                <a16:creationId xmlns:a16="http://schemas.microsoft.com/office/drawing/2014/main" id="{FF6BA6C9-CDDF-0D95-1C2E-4CA154E7E5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περιεχομένου 3">
            <a:extLst>
              <a:ext uri="{FF2B5EF4-FFF2-40B4-BE49-F238E27FC236}">
                <a16:creationId xmlns:a16="http://schemas.microsoft.com/office/drawing/2014/main" id="{10613435-5CE6-BFC7-973A-F7B7FA6F8D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5" name="Θέση ημερομηνίας 4">
            <a:extLst>
              <a:ext uri="{FF2B5EF4-FFF2-40B4-BE49-F238E27FC236}">
                <a16:creationId xmlns:a16="http://schemas.microsoft.com/office/drawing/2014/main" id="{4403FF2D-F6EC-425A-9215-3BDA3BE341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12/5/25</a:t>
            </a:fld>
            <a:endParaRPr lang="el-GR"/>
          </a:p>
        </p:txBody>
      </p:sp>
      <p:sp>
        <p:nvSpPr>
          <p:cNvPr id="6" name="Θέση υποσέλιδου 5">
            <a:extLst>
              <a:ext uri="{FF2B5EF4-FFF2-40B4-BE49-F238E27FC236}">
                <a16:creationId xmlns:a16="http://schemas.microsoft.com/office/drawing/2014/main" id="{24977F7C-CC07-6A2E-D74F-894D51A74F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7AF24856-8A1C-1D1E-2187-CC0C027116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00285638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8074100B-74D5-74FD-407D-81ADCA937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ειμένου 2">
            <a:extLst>
              <a:ext uri="{FF2B5EF4-FFF2-40B4-BE49-F238E27FC236}">
                <a16:creationId xmlns:a16="http://schemas.microsoft.com/office/drawing/2014/main" id="{36DB9B52-D0FE-EB58-F400-75A870A5C4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4" name="Θέση περιεχομένου 3">
            <a:extLst>
              <a:ext uri="{FF2B5EF4-FFF2-40B4-BE49-F238E27FC236}">
                <a16:creationId xmlns:a16="http://schemas.microsoft.com/office/drawing/2014/main" id="{813667AF-DF77-319C-05A0-5DA79DC1C1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5" name="Θέση κειμένου 4">
            <a:extLst>
              <a:ext uri="{FF2B5EF4-FFF2-40B4-BE49-F238E27FC236}">
                <a16:creationId xmlns:a16="http://schemas.microsoft.com/office/drawing/2014/main" id="{E2D7EDF6-FDEC-2CDA-7C41-E8292EF991A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6" name="Θέση περιεχομένου 5">
            <a:extLst>
              <a:ext uri="{FF2B5EF4-FFF2-40B4-BE49-F238E27FC236}">
                <a16:creationId xmlns:a16="http://schemas.microsoft.com/office/drawing/2014/main" id="{04AF560B-F4CC-645D-CFD3-E8FC8B03797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7" name="Θέση ημερομηνίας 6">
            <a:extLst>
              <a:ext uri="{FF2B5EF4-FFF2-40B4-BE49-F238E27FC236}">
                <a16:creationId xmlns:a16="http://schemas.microsoft.com/office/drawing/2014/main" id="{030F4488-9958-0D3B-978D-E810C04F95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12/5/25</a:t>
            </a:fld>
            <a:endParaRPr lang="el-GR"/>
          </a:p>
        </p:txBody>
      </p:sp>
      <p:sp>
        <p:nvSpPr>
          <p:cNvPr id="8" name="Θέση υποσέλιδου 7">
            <a:extLst>
              <a:ext uri="{FF2B5EF4-FFF2-40B4-BE49-F238E27FC236}">
                <a16:creationId xmlns:a16="http://schemas.microsoft.com/office/drawing/2014/main" id="{FCB0FC71-F181-6371-895C-C24381DD3F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A9AF39AA-B589-0D5B-5B5B-E12E4E7FD4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49568953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816E0735-7396-C414-0583-D71028C17F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ημερομηνίας 2">
            <a:extLst>
              <a:ext uri="{FF2B5EF4-FFF2-40B4-BE49-F238E27FC236}">
                <a16:creationId xmlns:a16="http://schemas.microsoft.com/office/drawing/2014/main" id="{69B2D56E-F4B9-66CB-5AFD-8411B2CB25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12/5/25</a:t>
            </a:fld>
            <a:endParaRPr lang="el-GR"/>
          </a:p>
        </p:txBody>
      </p:sp>
      <p:sp>
        <p:nvSpPr>
          <p:cNvPr id="4" name="Θέση υποσέλιδου 3">
            <a:extLst>
              <a:ext uri="{FF2B5EF4-FFF2-40B4-BE49-F238E27FC236}">
                <a16:creationId xmlns:a16="http://schemas.microsoft.com/office/drawing/2014/main" id="{0F5983FE-3171-C8FD-EFF7-0F5920A709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Θέση αριθμού διαφάνειας 4">
            <a:extLst>
              <a:ext uri="{FF2B5EF4-FFF2-40B4-BE49-F238E27FC236}">
                <a16:creationId xmlns:a16="http://schemas.microsoft.com/office/drawing/2014/main" id="{F1FF49C6-CC83-015B-832B-DAD6AC713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52201570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Κεν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>
            <a:extLst>
              <a:ext uri="{FF2B5EF4-FFF2-40B4-BE49-F238E27FC236}">
                <a16:creationId xmlns:a16="http://schemas.microsoft.com/office/drawing/2014/main" id="{326D8942-FBFD-1498-BAC6-D0F8D8F119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12/5/25</a:t>
            </a:fld>
            <a:endParaRPr lang="el-GR"/>
          </a:p>
        </p:txBody>
      </p:sp>
      <p:sp>
        <p:nvSpPr>
          <p:cNvPr id="3" name="Θέση υποσέλιδου 2">
            <a:extLst>
              <a:ext uri="{FF2B5EF4-FFF2-40B4-BE49-F238E27FC236}">
                <a16:creationId xmlns:a16="http://schemas.microsoft.com/office/drawing/2014/main" id="{5720D62A-81DB-AD60-AE6C-D233D14C0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7ADA88C5-24ED-B3CB-CEBC-45B93098A2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2585221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CBFCEE62-9579-4BB1-F6B2-50C976A6BA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περιεχομένου 2">
            <a:extLst>
              <a:ext uri="{FF2B5EF4-FFF2-40B4-BE49-F238E27FC236}">
                <a16:creationId xmlns:a16="http://schemas.microsoft.com/office/drawing/2014/main" id="{1D80B056-FF37-C56D-6C3D-DEF5C0BD8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κειμένου 3">
            <a:extLst>
              <a:ext uri="{FF2B5EF4-FFF2-40B4-BE49-F238E27FC236}">
                <a16:creationId xmlns:a16="http://schemas.microsoft.com/office/drawing/2014/main" id="{8B93A397-C67E-CEF0-7FF8-B37A505F383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5" name="Θέση ημερομηνίας 4">
            <a:extLst>
              <a:ext uri="{FF2B5EF4-FFF2-40B4-BE49-F238E27FC236}">
                <a16:creationId xmlns:a16="http://schemas.microsoft.com/office/drawing/2014/main" id="{67FB8759-3956-0887-2045-D01FE40D64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12/5/25</a:t>
            </a:fld>
            <a:endParaRPr lang="el-GR"/>
          </a:p>
        </p:txBody>
      </p:sp>
      <p:sp>
        <p:nvSpPr>
          <p:cNvPr id="6" name="Θέση υποσέλιδου 5">
            <a:extLst>
              <a:ext uri="{FF2B5EF4-FFF2-40B4-BE49-F238E27FC236}">
                <a16:creationId xmlns:a16="http://schemas.microsoft.com/office/drawing/2014/main" id="{15689D28-4785-A469-C250-0DFA47B0C9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9B6D6C37-5E33-531C-E9D2-D0366C929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84642429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E19DE032-C14A-337E-B47D-C7030859F4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εικόνας 2">
            <a:extLst>
              <a:ext uri="{FF2B5EF4-FFF2-40B4-BE49-F238E27FC236}">
                <a16:creationId xmlns:a16="http://schemas.microsoft.com/office/drawing/2014/main" id="{B102B1B5-5B74-85AB-CB01-DDEA024EF72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Θέση κειμένου 3">
            <a:extLst>
              <a:ext uri="{FF2B5EF4-FFF2-40B4-BE49-F238E27FC236}">
                <a16:creationId xmlns:a16="http://schemas.microsoft.com/office/drawing/2014/main" id="{BE74C778-5CAD-3FD4-C2D1-F9AE28D16B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5" name="Θέση ημερομηνίας 4">
            <a:extLst>
              <a:ext uri="{FF2B5EF4-FFF2-40B4-BE49-F238E27FC236}">
                <a16:creationId xmlns:a16="http://schemas.microsoft.com/office/drawing/2014/main" id="{00DBC61F-F6C9-1A45-DEF3-D6FC2C977D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12/5/25</a:t>
            </a:fld>
            <a:endParaRPr lang="el-GR"/>
          </a:p>
        </p:txBody>
      </p:sp>
      <p:sp>
        <p:nvSpPr>
          <p:cNvPr id="6" name="Θέση υποσέλιδου 5">
            <a:extLst>
              <a:ext uri="{FF2B5EF4-FFF2-40B4-BE49-F238E27FC236}">
                <a16:creationId xmlns:a16="http://schemas.microsoft.com/office/drawing/2014/main" id="{2F2A2A20-A12B-E41A-A994-2BCEC86A81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6B81DB4E-9842-65E8-EB2B-0ECA74260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98018085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CF906851-C7E2-7C08-34A9-FF2AF68555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ατακόρυφου κειμένου 2">
            <a:extLst>
              <a:ext uri="{FF2B5EF4-FFF2-40B4-BE49-F238E27FC236}">
                <a16:creationId xmlns:a16="http://schemas.microsoft.com/office/drawing/2014/main" id="{E80DF23B-63A5-D0FF-7B68-9965F3AA389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F7183476-1916-8020-6A39-3BE316039F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12/5/25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BDB00C9D-833C-1FB8-88B3-ED0E1BC6DD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99D72072-0EBB-FA33-EEA2-214C7DD0F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4932557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5255" y="5291143"/>
            <a:ext cx="806450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35255" y="674691"/>
            <a:ext cx="8064500" cy="4537075"/>
          </a:xfrm>
        </p:spPr>
        <p:txBody>
          <a:bodyPr/>
          <a:lstStyle>
            <a:lvl1pPr marL="0" indent="0">
              <a:buNone/>
              <a:defRPr sz="3200"/>
            </a:lvl1pPr>
            <a:lvl2pPr marL="457058" indent="0">
              <a:buNone/>
              <a:defRPr sz="2800"/>
            </a:lvl2pPr>
            <a:lvl3pPr marL="914115" indent="0">
              <a:buNone/>
              <a:defRPr sz="2400"/>
            </a:lvl3pPr>
            <a:lvl4pPr marL="1371173" indent="0">
              <a:buNone/>
              <a:defRPr sz="2000"/>
            </a:lvl4pPr>
            <a:lvl5pPr marL="1828231" indent="0">
              <a:buNone/>
              <a:defRPr sz="2000"/>
            </a:lvl5pPr>
            <a:lvl6pPr marL="2285289" indent="0">
              <a:buNone/>
              <a:defRPr sz="2000"/>
            </a:lvl6pPr>
            <a:lvl7pPr marL="2742347" indent="0">
              <a:buNone/>
              <a:defRPr sz="2000"/>
            </a:lvl7pPr>
            <a:lvl8pPr marL="3199405" indent="0">
              <a:buNone/>
              <a:defRPr sz="2000"/>
            </a:lvl8pPr>
            <a:lvl9pPr marL="3656462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35255" y="5916613"/>
            <a:ext cx="8064500" cy="887412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733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>
            <a:extLst>
              <a:ext uri="{FF2B5EF4-FFF2-40B4-BE49-F238E27FC236}">
                <a16:creationId xmlns:a16="http://schemas.microsoft.com/office/drawing/2014/main" id="{CBAC6130-69A1-DE68-BC12-7127A77B230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ατακόρυφου κειμένου 2">
            <a:extLst>
              <a:ext uri="{FF2B5EF4-FFF2-40B4-BE49-F238E27FC236}">
                <a16:creationId xmlns:a16="http://schemas.microsoft.com/office/drawing/2014/main" id="{1AFAD876-61AD-FA35-ED21-DD84D3ECC63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C29BDDB8-5B63-EEA2-56F7-FB0CACC1E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01A6C1-4E33-4B60-88CC-0721C17B364B}" type="datetimeFigureOut">
              <a:rPr lang="el-GR" smtClean="0"/>
              <a:t>12/5/25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279E60FA-B807-28E6-8F77-958860B2D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6F3DA899-7E1F-E8D1-E227-9F1FC20B6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0272098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5521343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952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28412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88952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2470" y="114300"/>
            <a:ext cx="7765230" cy="1031824"/>
          </a:xfrm>
        </p:spPr>
        <p:txBody>
          <a:bodyPr anchor="b" anchorCtr="0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2470" y="1260424"/>
            <a:ext cx="7765230" cy="585001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157167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4" y="114301"/>
            <a:ext cx="11528425" cy="8787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9274" y="1298448"/>
            <a:ext cx="11528425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549275" y="6400800"/>
            <a:ext cx="11328093" cy="341313"/>
          </a:xfrm>
        </p:spPr>
        <p:txBody>
          <a:bodyPr anchor="b" anchorCtr="0"/>
          <a:lstStyle>
            <a:lvl1pPr marL="0" indent="0">
              <a:spcBef>
                <a:spcPts val="200"/>
              </a:spcBef>
              <a:buNone/>
              <a:defRPr sz="900"/>
            </a:lvl1pPr>
            <a:lvl2pPr marL="457200" indent="0">
              <a:buNone/>
              <a:defRPr sz="900"/>
            </a:lvl2pPr>
            <a:lvl3pPr marL="914400" indent="0">
              <a:buNone/>
              <a:defRPr sz="9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716013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1287463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287463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549275" y="6400800"/>
            <a:ext cx="11328093" cy="341313"/>
          </a:xfrm>
        </p:spPr>
        <p:txBody>
          <a:bodyPr anchor="b" anchorCtr="0"/>
          <a:lstStyle>
            <a:lvl1pPr marL="0" indent="0">
              <a:spcBef>
                <a:spcPts val="200"/>
              </a:spcBef>
              <a:buNone/>
              <a:defRPr sz="900"/>
            </a:lvl1pPr>
            <a:lvl2pPr marL="457200" indent="0">
              <a:buNone/>
              <a:defRPr sz="900"/>
            </a:lvl2pPr>
            <a:lvl3pPr marL="914400" indent="0">
              <a:buNone/>
              <a:defRPr sz="9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562681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4"/>
          <p:cNvSpPr>
            <a:spLocks noGrp="1"/>
          </p:cNvSpPr>
          <p:nvPr>
            <p:ph sz="quarter" idx="10"/>
          </p:nvPr>
        </p:nvSpPr>
        <p:spPr>
          <a:xfrm>
            <a:off x="549275" y="6400800"/>
            <a:ext cx="11328093" cy="341313"/>
          </a:xfrm>
        </p:spPr>
        <p:txBody>
          <a:bodyPr anchor="b" anchorCtr="0"/>
          <a:lstStyle>
            <a:lvl1pPr marL="0" indent="0">
              <a:spcBef>
                <a:spcPts val="200"/>
              </a:spcBef>
              <a:buNone/>
              <a:defRPr sz="900"/>
            </a:lvl1pPr>
            <a:lvl2pPr marL="457200" indent="0">
              <a:buNone/>
              <a:defRPr sz="900"/>
            </a:lvl2pPr>
            <a:lvl3pPr marL="914400" indent="0">
              <a:buNone/>
              <a:defRPr sz="9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671170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6"/>
            <a:ext cx="11203200" cy="1109663"/>
          </a:xfrm>
        </p:spPr>
        <p:txBody>
          <a:bodyPr lIns="90000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528000" y="1316765"/>
            <a:ext cx="11204448" cy="46329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3450657"/>
      </p:ext>
    </p:extLst>
  </p:cSld>
  <p:clrMapOvr>
    <a:masterClrMapping/>
  </p:clrMapOvr>
  <p:transition>
    <p:wipe dir="r"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968" y="6223105"/>
            <a:ext cx="8646584" cy="461963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/>
            </a:lvl1pPr>
          </a:lstStyle>
          <a:p>
            <a:pPr lvl="0"/>
            <a:r>
              <a:rPr lang="en-GB" dirty="0"/>
              <a:t>References to go her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517718" y="90436"/>
            <a:ext cx="1566333" cy="341313"/>
          </a:xfrm>
        </p:spPr>
        <p:txBody>
          <a:bodyPr wrap="none"/>
          <a:lstStyle>
            <a:lvl1pPr marL="0" indent="0" algn="r">
              <a:buNone/>
              <a:defRPr sz="1600">
                <a:solidFill>
                  <a:srgbClr val="007CC2"/>
                </a:solidFill>
              </a:defRPr>
            </a:lvl1pPr>
          </a:lstStyle>
          <a:p>
            <a:pPr lvl="0"/>
            <a:r>
              <a:rPr lang="en-US" dirty="0"/>
              <a:t>Abstract no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537626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Quintil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19403" y="1654141"/>
            <a:ext cx="7728500" cy="1628577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4000" b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729785" y="4077073"/>
            <a:ext cx="7708364" cy="12239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buNone/>
              <a:defRPr>
                <a:solidFill>
                  <a:schemeClr val="bg1"/>
                </a:solidFill>
              </a:defRPr>
            </a:lvl2pPr>
            <a:lvl3pPr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5" name="Picture 2" descr="exchange large.pn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8450825" y="1848556"/>
            <a:ext cx="3725300" cy="5005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HME_primary_rev.png"/>
          <p:cNvPicPr>
            <a:picLocks noChangeAspect="1"/>
          </p:cNvPicPr>
          <p:nvPr userDrawn="1"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689811" y="5649384"/>
            <a:ext cx="1938867" cy="643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 userDrawn="1"/>
        </p:nvSpPr>
        <p:spPr>
          <a:xfrm>
            <a:off x="574540" y="6465756"/>
            <a:ext cx="3045353" cy="246221"/>
          </a:xfrm>
          <a:prstGeom prst="rect">
            <a:avLst/>
          </a:prstGeom>
          <a:ln>
            <a:noFill/>
          </a:ln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prstClr val="white"/>
                </a:solidFill>
                <a:ea typeface="ＭＳ Ｐゴシック" charset="-128"/>
              </a:rPr>
              <a:t>Zinc code to be inserted</a:t>
            </a:r>
          </a:p>
        </p:txBody>
      </p:sp>
    </p:spTree>
    <p:extLst>
      <p:ext uri="{BB962C8B-B14F-4D97-AF65-F5344CB8AC3E}">
        <p14:creationId xmlns:p14="http://schemas.microsoft.com/office/powerpoint/2010/main" val="1339916459"/>
      </p:ext>
    </p:extLst>
  </p:cSld>
  <p:clrMapOvr>
    <a:masterClrMapping/>
  </p:clrMapOvr>
  <p:transition spd="med">
    <p:fade/>
  </p:transition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slideLayout" Target="../slideLayouts/slideLayout43.xml"/><Relationship Id="rId39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38.xml"/><Relationship Id="rId34" Type="http://schemas.openxmlformats.org/officeDocument/2006/relationships/slideLayout" Target="../slideLayouts/slideLayout51.xml"/><Relationship Id="rId42" Type="http://schemas.openxmlformats.org/officeDocument/2006/relationships/slideLayout" Target="../slideLayouts/slideLayout59.xml"/><Relationship Id="rId47" Type="http://schemas.openxmlformats.org/officeDocument/2006/relationships/slideLayout" Target="../slideLayouts/slideLayout64.xml"/><Relationship Id="rId50" Type="http://schemas.openxmlformats.org/officeDocument/2006/relationships/slideLayout" Target="../slideLayouts/slideLayout67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28.xml"/><Relationship Id="rId24" Type="http://schemas.openxmlformats.org/officeDocument/2006/relationships/slideLayout" Target="../slideLayouts/slideLayout41.xml"/><Relationship Id="rId32" Type="http://schemas.openxmlformats.org/officeDocument/2006/relationships/slideLayout" Target="../slideLayouts/slideLayout49.xml"/><Relationship Id="rId37" Type="http://schemas.openxmlformats.org/officeDocument/2006/relationships/slideLayout" Target="../slideLayouts/slideLayout54.xml"/><Relationship Id="rId40" Type="http://schemas.openxmlformats.org/officeDocument/2006/relationships/slideLayout" Target="../slideLayouts/slideLayout57.xml"/><Relationship Id="rId45" Type="http://schemas.openxmlformats.org/officeDocument/2006/relationships/slideLayout" Target="../slideLayouts/slideLayout62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28" Type="http://schemas.openxmlformats.org/officeDocument/2006/relationships/slideLayout" Target="../slideLayouts/slideLayout45.xml"/><Relationship Id="rId36" Type="http://schemas.openxmlformats.org/officeDocument/2006/relationships/slideLayout" Target="../slideLayouts/slideLayout53.xml"/><Relationship Id="rId49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31" Type="http://schemas.openxmlformats.org/officeDocument/2006/relationships/slideLayout" Target="../slideLayouts/slideLayout48.xml"/><Relationship Id="rId44" Type="http://schemas.openxmlformats.org/officeDocument/2006/relationships/slideLayout" Target="../slideLayouts/slideLayout61.xml"/><Relationship Id="rId52" Type="http://schemas.openxmlformats.org/officeDocument/2006/relationships/image" Target="../media/image2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slideLayout" Target="../slideLayouts/slideLayout44.xml"/><Relationship Id="rId30" Type="http://schemas.openxmlformats.org/officeDocument/2006/relationships/slideLayout" Target="../slideLayouts/slideLayout47.xml"/><Relationship Id="rId35" Type="http://schemas.openxmlformats.org/officeDocument/2006/relationships/slideLayout" Target="../slideLayouts/slideLayout52.xml"/><Relationship Id="rId43" Type="http://schemas.openxmlformats.org/officeDocument/2006/relationships/slideLayout" Target="../slideLayouts/slideLayout60.xml"/><Relationship Id="rId48" Type="http://schemas.openxmlformats.org/officeDocument/2006/relationships/slideLayout" Target="../slideLayouts/slideLayout65.xml"/><Relationship Id="rId8" Type="http://schemas.openxmlformats.org/officeDocument/2006/relationships/slideLayout" Target="../slideLayouts/slideLayout25.xml"/><Relationship Id="rId51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slideLayout" Target="../slideLayouts/slideLayout42.xml"/><Relationship Id="rId33" Type="http://schemas.openxmlformats.org/officeDocument/2006/relationships/slideLayout" Target="../slideLayouts/slideLayout50.xml"/><Relationship Id="rId38" Type="http://schemas.openxmlformats.org/officeDocument/2006/relationships/slideLayout" Target="../slideLayouts/slideLayout55.xml"/><Relationship Id="rId4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37.xml"/><Relationship Id="rId41" Type="http://schemas.openxmlformats.org/officeDocument/2006/relationships/slideLayout" Target="../slideLayouts/slideLayout58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18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01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29.xml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135.xml"/><Relationship Id="rId21" Type="http://schemas.openxmlformats.org/officeDocument/2006/relationships/image" Target="../media/image15.emf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34.xml"/><Relationship Id="rId16" Type="http://schemas.openxmlformats.org/officeDocument/2006/relationships/slideLayout" Target="../slideLayouts/slideLayout148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42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slideLayout" Target="../slideLayouts/slideLayout162.xml"/><Relationship Id="rId18" Type="http://schemas.openxmlformats.org/officeDocument/2006/relationships/theme" Target="../theme/theme9.x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17" Type="http://schemas.openxmlformats.org/officeDocument/2006/relationships/slideLayout" Target="../slideLayouts/slideLayout166.xml"/><Relationship Id="rId2" Type="http://schemas.openxmlformats.org/officeDocument/2006/relationships/slideLayout" Target="../slideLayouts/slideLayout151.xml"/><Relationship Id="rId16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5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59.xml"/><Relationship Id="rId19" Type="http://schemas.openxmlformats.org/officeDocument/2006/relationships/image" Target="../media/image16.jpeg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slideLayout" Target="../slideLayouts/slideLayout1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2EC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2286" y="227013"/>
            <a:ext cx="1035896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6" y="1416053"/>
            <a:ext cx="10358967" cy="479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4CCBE2E-CAAE-B74A-AD06-6C8F94F20E4C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5992" y="6156880"/>
            <a:ext cx="650240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259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8" r:id="rId1"/>
    <p:sldLayoutId id="2147485129" r:id="rId2"/>
    <p:sldLayoutId id="2147485130" r:id="rId3"/>
    <p:sldLayoutId id="2147485131" r:id="rId4"/>
    <p:sldLayoutId id="2147485132" r:id="rId5"/>
    <p:sldLayoutId id="2147485133" r:id="rId6"/>
    <p:sldLayoutId id="2147485134" r:id="rId7"/>
    <p:sldLayoutId id="2147485135" r:id="rId8"/>
    <p:sldLayoutId id="2147485136" r:id="rId9"/>
    <p:sldLayoutId id="2147485137" r:id="rId10"/>
    <p:sldLayoutId id="2147485138" r:id="rId11"/>
    <p:sldLayoutId id="2147485139" r:id="rId12"/>
    <p:sldLayoutId id="2147485140" r:id="rId13"/>
    <p:sldLayoutId id="2147485141" r:id="rId14"/>
    <p:sldLayoutId id="2147485142" r:id="rId15"/>
    <p:sldLayoutId id="2147485143" r:id="rId16"/>
    <p:sldLayoutId id="2147485144" r:id="rId17"/>
  </p:sldLayoutIdLst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xStyles>
    <p:titleStyle>
      <a:lvl1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000" b="1">
          <a:solidFill>
            <a:srgbClr val="3333FF"/>
          </a:solidFill>
          <a:latin typeface="Calibri"/>
          <a:ea typeface="MS PGothic" pitchFamily="34" charset="-128"/>
          <a:cs typeface="Calibri"/>
        </a:defRPr>
      </a:lvl1pPr>
      <a:lvl2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5pPr>
      <a:lvl6pPr marL="153622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6pPr>
      <a:lvl7pPr marL="199328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7pPr>
      <a:lvl8pPr marL="245033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8pPr>
      <a:lvl9pPr marL="290739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9pPr>
    </p:titleStyle>
    <p:bodyStyle>
      <a:lvl1pPr marL="390525" indent="-292100" algn="l" defTabSz="412750" rtl="0" eaLnBrk="0" fontAlgn="base" hangingPunct="0">
        <a:lnSpc>
          <a:spcPct val="105000"/>
        </a:lnSpc>
        <a:spcBef>
          <a:spcPct val="30000"/>
        </a:spcBef>
        <a:spcAft>
          <a:spcPts val="800"/>
        </a:spcAft>
        <a:buClr>
          <a:srgbClr val="000000"/>
        </a:buClr>
        <a:buSzPct val="100000"/>
        <a:buFont typeface="Arial" pitchFamily="-72" charset="0"/>
        <a:buChar char="•"/>
        <a:defRPr sz="2900" b="1">
          <a:solidFill>
            <a:srgbClr val="000000"/>
          </a:solidFill>
          <a:latin typeface="Calibri" charset="0"/>
          <a:ea typeface="MS PGothic" pitchFamily="34" charset="-128"/>
          <a:cs typeface="MS PGothic" charset="0"/>
        </a:defRPr>
      </a:lvl1pPr>
      <a:lvl2pPr marL="782638" indent="-260350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600" b="1">
          <a:solidFill>
            <a:srgbClr val="000000"/>
          </a:solidFill>
          <a:latin typeface="Calibri" charset="0"/>
          <a:ea typeface="MS PGothic" pitchFamily="34" charset="-128"/>
        </a:defRPr>
      </a:lvl2pPr>
      <a:lvl3pPr marL="1173163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400" b="1">
          <a:solidFill>
            <a:srgbClr val="000000"/>
          </a:solidFill>
          <a:latin typeface="Calibri" charset="0"/>
          <a:ea typeface="ＭＳ Ｐゴシック" pitchFamily="-123" charset="-128"/>
          <a:cs typeface="ＭＳ Ｐゴシック" pitchFamily="-72" charset="-128"/>
        </a:defRPr>
      </a:lvl3pPr>
      <a:lvl4pPr marL="1565275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200" b="1">
          <a:solidFill>
            <a:srgbClr val="000000"/>
          </a:solidFill>
          <a:latin typeface="Calibri" charset="0"/>
          <a:ea typeface="ＭＳ Ｐゴシック" pitchFamily="-123" charset="-128"/>
        </a:defRPr>
      </a:lvl4pPr>
      <a:lvl5pPr marL="1957388" indent="-195263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000" b="1">
          <a:solidFill>
            <a:srgbClr val="000000"/>
          </a:solidFill>
          <a:latin typeface="Calibri" charset="0"/>
          <a:ea typeface="ＭＳ Ｐゴシック" pitchFamily="-123" charset="-128"/>
        </a:defRPr>
      </a:lvl5pPr>
      <a:lvl6pPr marL="2615386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6pPr>
      <a:lvl7pPr marL="3072444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7pPr>
      <a:lvl8pPr marL="3529502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8pPr>
      <a:lvl9pPr marL="3986559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1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73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31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89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47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0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62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2EC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2286" y="227013"/>
            <a:ext cx="1035896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6" y="1416053"/>
            <a:ext cx="10358967" cy="479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9556B3-89A1-A44F-B845-0089CD720DE3}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85479" y="6137487"/>
            <a:ext cx="2389449" cy="557538"/>
          </a:xfrm>
          <a:prstGeom prst="rect">
            <a:avLst/>
          </a:prstGeom>
          <a:effectLst>
            <a:outerShdw blurRad="50800" dist="63500" dir="5400000" algn="t" rotWithShape="0">
              <a:srgbClr val="D0D8E1"/>
            </a:outerShdw>
          </a:effectLst>
        </p:spPr>
      </p:pic>
    </p:spTree>
    <p:extLst>
      <p:ext uri="{BB962C8B-B14F-4D97-AF65-F5344CB8AC3E}">
        <p14:creationId xmlns:p14="http://schemas.microsoft.com/office/powerpoint/2010/main" val="3280441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08" r:id="rId1"/>
    <p:sldLayoutId id="2147485909" r:id="rId2"/>
    <p:sldLayoutId id="2147485910" r:id="rId3"/>
    <p:sldLayoutId id="2147485911" r:id="rId4"/>
    <p:sldLayoutId id="2147485912" r:id="rId5"/>
    <p:sldLayoutId id="2147485913" r:id="rId6"/>
    <p:sldLayoutId id="2147485914" r:id="rId7"/>
    <p:sldLayoutId id="2147485915" r:id="rId8"/>
    <p:sldLayoutId id="2147485916" r:id="rId9"/>
    <p:sldLayoutId id="2147485917" r:id="rId10"/>
    <p:sldLayoutId id="2147485918" r:id="rId11"/>
    <p:sldLayoutId id="2147485919" r:id="rId12"/>
    <p:sldLayoutId id="2147485920" r:id="rId13"/>
    <p:sldLayoutId id="2147485921" r:id="rId14"/>
    <p:sldLayoutId id="2147485922" r:id="rId15"/>
    <p:sldLayoutId id="2147485923" r:id="rId16"/>
    <p:sldLayoutId id="2147485924" r:id="rId17"/>
    <p:sldLayoutId id="2147485925" r:id="rId18"/>
    <p:sldLayoutId id="2147485926" r:id="rId19"/>
    <p:sldLayoutId id="2147485927" r:id="rId20"/>
    <p:sldLayoutId id="2147485928" r:id="rId21"/>
    <p:sldLayoutId id="2147485929" r:id="rId22"/>
    <p:sldLayoutId id="2147485930" r:id="rId23"/>
    <p:sldLayoutId id="2147485931" r:id="rId24"/>
    <p:sldLayoutId id="2147485932" r:id="rId25"/>
    <p:sldLayoutId id="2147485935" r:id="rId26"/>
    <p:sldLayoutId id="2147485936" r:id="rId27"/>
    <p:sldLayoutId id="2147485937" r:id="rId28"/>
    <p:sldLayoutId id="2147485938" r:id="rId29"/>
    <p:sldLayoutId id="2147485939" r:id="rId30"/>
    <p:sldLayoutId id="2147485940" r:id="rId31"/>
    <p:sldLayoutId id="2147485941" r:id="rId32"/>
    <p:sldLayoutId id="2147485942" r:id="rId33"/>
    <p:sldLayoutId id="2147485943" r:id="rId34"/>
    <p:sldLayoutId id="2147485944" r:id="rId35"/>
    <p:sldLayoutId id="2147485945" r:id="rId36"/>
    <p:sldLayoutId id="2147485946" r:id="rId37"/>
    <p:sldLayoutId id="2147485947" r:id="rId38"/>
    <p:sldLayoutId id="2147485948" r:id="rId39"/>
    <p:sldLayoutId id="2147485949" r:id="rId40"/>
    <p:sldLayoutId id="2147485950" r:id="rId41"/>
    <p:sldLayoutId id="2147485951" r:id="rId42"/>
    <p:sldLayoutId id="2147485952" r:id="rId43"/>
    <p:sldLayoutId id="2147485953" r:id="rId44"/>
    <p:sldLayoutId id="2147485954" r:id="rId45"/>
    <p:sldLayoutId id="2147485955" r:id="rId46"/>
    <p:sldLayoutId id="2147485956" r:id="rId47"/>
    <p:sldLayoutId id="2147485957" r:id="rId48"/>
    <p:sldLayoutId id="2147485958" r:id="rId49"/>
    <p:sldLayoutId id="2147485959" r:id="rId50"/>
  </p:sldLayoutIdLst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xStyles>
    <p:titleStyle>
      <a:lvl1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000" b="1">
          <a:solidFill>
            <a:srgbClr val="3333FF"/>
          </a:solidFill>
          <a:latin typeface="Calibri"/>
          <a:ea typeface="MS PGothic" pitchFamily="34" charset="-128"/>
          <a:cs typeface="Calibri"/>
        </a:defRPr>
      </a:lvl1pPr>
      <a:lvl2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5pPr>
      <a:lvl6pPr marL="153622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6pPr>
      <a:lvl7pPr marL="199328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7pPr>
      <a:lvl8pPr marL="245033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8pPr>
      <a:lvl9pPr marL="290739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9pPr>
    </p:titleStyle>
    <p:bodyStyle>
      <a:lvl1pPr marL="390525" indent="-292100" algn="l" defTabSz="412750" rtl="0" eaLnBrk="0" fontAlgn="base" hangingPunct="0">
        <a:lnSpc>
          <a:spcPct val="105000"/>
        </a:lnSpc>
        <a:spcBef>
          <a:spcPct val="30000"/>
        </a:spcBef>
        <a:spcAft>
          <a:spcPts val="800"/>
        </a:spcAft>
        <a:buClr>
          <a:srgbClr val="000000"/>
        </a:buClr>
        <a:buSzPct val="100000"/>
        <a:buFont typeface="Arial" pitchFamily="-72" charset="0"/>
        <a:buChar char="•"/>
        <a:defRPr sz="2900" b="1">
          <a:solidFill>
            <a:srgbClr val="000000"/>
          </a:solidFill>
          <a:latin typeface="Calibri" charset="0"/>
          <a:ea typeface="MS PGothic" pitchFamily="34" charset="-128"/>
          <a:cs typeface="MS PGothic" charset="0"/>
        </a:defRPr>
      </a:lvl1pPr>
      <a:lvl2pPr marL="782638" indent="-260350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600" b="1">
          <a:solidFill>
            <a:srgbClr val="000000"/>
          </a:solidFill>
          <a:latin typeface="Calibri" charset="0"/>
          <a:ea typeface="MS PGothic" pitchFamily="34" charset="-128"/>
        </a:defRPr>
      </a:lvl2pPr>
      <a:lvl3pPr marL="1173163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400" b="1">
          <a:solidFill>
            <a:srgbClr val="000000"/>
          </a:solidFill>
          <a:latin typeface="Calibri" charset="0"/>
          <a:ea typeface="ＭＳ Ｐゴシック" pitchFamily="-123" charset="-128"/>
          <a:cs typeface="ＭＳ Ｐゴシック" pitchFamily="-72" charset="-128"/>
        </a:defRPr>
      </a:lvl3pPr>
      <a:lvl4pPr marL="1565275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200" b="1">
          <a:solidFill>
            <a:srgbClr val="000000"/>
          </a:solidFill>
          <a:latin typeface="Calibri" charset="0"/>
          <a:ea typeface="ＭＳ Ｐゴシック" pitchFamily="-123" charset="-128"/>
        </a:defRPr>
      </a:lvl4pPr>
      <a:lvl5pPr marL="1957388" indent="-195263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000" b="1">
          <a:solidFill>
            <a:srgbClr val="000000"/>
          </a:solidFill>
          <a:latin typeface="Calibri" charset="0"/>
          <a:ea typeface="ＭＳ Ｐゴシック" pitchFamily="-123" charset="-128"/>
        </a:defRPr>
      </a:lvl5pPr>
      <a:lvl6pPr marL="2615386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6pPr>
      <a:lvl7pPr marL="3072444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7pPr>
      <a:lvl8pPr marL="3529502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8pPr>
      <a:lvl9pPr marL="3986559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1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73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31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89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47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0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62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000000"/>
            </a:gs>
            <a:gs pos="50000">
              <a:srgbClr val="00004B"/>
            </a:gs>
            <a:gs pos="100000">
              <a:srgbClr val="00000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1716F6E9-FCFC-5B18-CFB3-8FC50E64F1F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304800"/>
            <a:ext cx="103632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F663D267-B446-DF42-CB3E-168E5BB9FA3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6764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28" name="Rectangle 4">
            <a:extLst>
              <a:ext uri="{FF2B5EF4-FFF2-40B4-BE49-F238E27FC236}">
                <a16:creationId xmlns:a16="http://schemas.microsoft.com/office/drawing/2014/main" id="{CFD6D45F-EB03-14CF-E003-DEB7FF102CE8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 dirty="0">
                <a:latin typeface="Times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9" name="Rectangle 5">
            <a:extLst>
              <a:ext uri="{FF2B5EF4-FFF2-40B4-BE49-F238E27FC236}">
                <a16:creationId xmlns:a16="http://schemas.microsoft.com/office/drawing/2014/main" id="{1E06C569-7E7C-47F3-13F2-C605FF2C88C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0" dirty="0">
                <a:latin typeface="Times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70645D20-E199-751A-2CCE-5A256548DB41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0" smtClean="0">
                <a:latin typeface="Times" pitchFamily="2" charset="0"/>
              </a:defRPr>
            </a:lvl1pPr>
          </a:lstStyle>
          <a:p>
            <a:pPr>
              <a:defRPr/>
            </a:pPr>
            <a:fld id="{A5D63D49-DEFF-EE4C-8DC3-A8CABDBE71E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4202494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154" r:id="rId1"/>
    <p:sldLayoutId id="2147486155" r:id="rId2"/>
    <p:sldLayoutId id="2147486156" r:id="rId3"/>
    <p:sldLayoutId id="2147486157" r:id="rId4"/>
    <p:sldLayoutId id="2147486158" r:id="rId5"/>
    <p:sldLayoutId id="2147486159" r:id="rId6"/>
    <p:sldLayoutId id="2147486160" r:id="rId7"/>
    <p:sldLayoutId id="2147486161" r:id="rId8"/>
    <p:sldLayoutId id="2147486162" r:id="rId9"/>
    <p:sldLayoutId id="2147486163" r:id="rId10"/>
    <p:sldLayoutId id="2147486164" r:id="rId11"/>
    <p:sldLayoutId id="2147486165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+mj-lt"/>
          <a:ea typeface="+mj-ea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" charset="0"/>
          <a:ea typeface="ＭＳ Ｐゴシック" charset="0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" charset="0"/>
          <a:ea typeface="ＭＳ Ｐゴシック" charset="0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" charset="0"/>
          <a:ea typeface="ＭＳ Ｐゴシック" charset="0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" charset="0"/>
          <a:ea typeface="ＭＳ Ｐゴシック" charset="0"/>
          <a:cs typeface="ＭＳ Ｐゴシック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" charset="0"/>
          <a:ea typeface="ＭＳ Ｐゴシック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" charset="0"/>
          <a:ea typeface="ＭＳ Ｐゴシック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" charset="0"/>
          <a:ea typeface="ＭＳ Ｐゴシック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" charset="0"/>
          <a:ea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τίτλου 1">
            <a:extLst>
              <a:ext uri="{FF2B5EF4-FFF2-40B4-BE49-F238E27FC236}">
                <a16:creationId xmlns:a16="http://schemas.microsoft.com/office/drawing/2014/main" id="{306AED06-5D5F-4B34-7FA1-15F585A14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ειμένου 2">
            <a:extLst>
              <a:ext uri="{FF2B5EF4-FFF2-40B4-BE49-F238E27FC236}">
                <a16:creationId xmlns:a16="http://schemas.microsoft.com/office/drawing/2014/main" id="{DAA312BC-BBAD-30DC-CCCF-E1CABDA7DC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E2E2E38D-0624-D050-A19B-65B64460E9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E01A6C1-4E33-4B60-88CC-0721C17B364B}" type="datetimeFigureOut">
              <a:rPr lang="el-GR" smtClean="0"/>
              <a:t>12/5/25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0B6A32E5-2538-A1E5-C46D-35A31727CA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5F55E221-7DE4-5D3C-3A06-E2B477356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0A13ACEC-EA38-4102-8DF0-22D2D34F6C4F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276049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67" r:id="rId1"/>
    <p:sldLayoutId id="2147486168" r:id="rId2"/>
    <p:sldLayoutId id="2147486169" r:id="rId3"/>
    <p:sldLayoutId id="2147486170" r:id="rId4"/>
    <p:sldLayoutId id="2147486171" r:id="rId5"/>
    <p:sldLayoutId id="2147486172" r:id="rId6"/>
    <p:sldLayoutId id="2147486173" r:id="rId7"/>
    <p:sldLayoutId id="2147486174" r:id="rId8"/>
    <p:sldLayoutId id="2147486175" r:id="rId9"/>
    <p:sldLayoutId id="2147486176" r:id="rId10"/>
    <p:sldLayoutId id="2147486177" r:id="rId11"/>
    <p:sldLayoutId id="214748617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9275" y="114300"/>
            <a:ext cx="11367422" cy="986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9275" y="1297295"/>
            <a:ext cx="11367422" cy="43513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662064" y="6511281"/>
            <a:ext cx="415636" cy="23083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/>
            <a:fld id="{87CB84B5-1B86-4A9A-BB5F-F88E05C8058E}" type="slidenum">
              <a:rPr lang="en-US" sz="900" smtClean="0"/>
              <a:pPr algn="r"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162299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91" r:id="rId1"/>
    <p:sldLayoutId id="2147486192" r:id="rId2"/>
    <p:sldLayoutId id="2147486193" r:id="rId3"/>
    <p:sldLayoutId id="2147486194" r:id="rId4"/>
    <p:sldLayoutId id="2147486195" r:id="rId5"/>
    <p:sldLayoutId id="2147486196" r:id="rId6"/>
    <p:sldLayoutId id="2147486197" r:id="rId7"/>
    <p:sldLayoutId id="2147486198" r:id="rId8"/>
    <p:sldLayoutId id="2147486199" r:id="rId9"/>
    <p:sldLayoutId id="2147486200" r:id="rId10"/>
    <p:sldLayoutId id="2147486201" r:id="rId11"/>
    <p:sldLayoutId id="2147486202" r:id="rId12"/>
    <p:sldLayoutId id="2147486203" r:id="rId13"/>
    <p:sldLayoutId id="2147486204" r:id="rId14"/>
    <p:sldLayoutId id="2147486205" r:id="rId15"/>
    <p:sldLayoutId id="2147486206" r:id="rId16"/>
    <p:sldLayoutId id="2147486207" r:id="rId17"/>
    <p:sldLayoutId id="2147486208" r:id="rId18"/>
  </p:sldLayoutIdLst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5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rgbClr val="000000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5000"/>
        </a:lnSpc>
        <a:spcBef>
          <a:spcPts val="400"/>
        </a:spcBef>
        <a:buClr>
          <a:schemeClr val="accent3">
            <a:lumMod val="75000"/>
          </a:schemeClr>
        </a:buClr>
        <a:buSzPct val="85000"/>
        <a:buFont typeface="Webdings" panose="05030102010509060703" pitchFamily="18" charset="2"/>
        <a:buChar char="4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5000"/>
        </a:lnSpc>
        <a:spcBef>
          <a:spcPts val="300"/>
        </a:spcBef>
        <a:buClr>
          <a:schemeClr val="accent6">
            <a:lumMod val="75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5000"/>
        </a:lnSpc>
        <a:spcBef>
          <a:spcPts val="300"/>
        </a:spcBef>
        <a:buClr>
          <a:schemeClr val="accent6">
            <a:lumMod val="75000"/>
          </a:schemeClr>
        </a:buClr>
        <a:buSzPct val="85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5000"/>
        </a:lnSpc>
        <a:spcBef>
          <a:spcPts val="3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72">
          <p15:clr>
            <a:srgbClr val="F26B43"/>
          </p15:clr>
        </p15:guide>
        <p15:guide id="4" orient="horz" pos="4247">
          <p15:clr>
            <a:srgbClr val="F26B43"/>
          </p15:clr>
        </p15:guide>
        <p15:guide id="5">
          <p15:clr>
            <a:srgbClr val="F26B43"/>
          </p15:clr>
        </p15:guide>
        <p15:guide id="6" pos="346">
          <p15:clr>
            <a:srgbClr val="F26B43"/>
          </p15:clr>
        </p15:guide>
        <p15:guide id="7" orient="horz" pos="811">
          <p15:clr>
            <a:srgbClr val="F26B43"/>
          </p15:clr>
        </p15:guide>
        <p15:guide id="8" pos="760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>
            <a:extLst>
              <a:ext uri="{FF2B5EF4-FFF2-40B4-BE49-F238E27FC236}">
                <a16:creationId xmlns:a16="http://schemas.microsoft.com/office/drawing/2014/main" id="{1FBA405B-91D7-455B-838E-7390C471CAC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759" y="238125"/>
            <a:ext cx="10872444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7">
            <a:extLst>
              <a:ext uri="{FF2B5EF4-FFF2-40B4-BE49-F238E27FC236}">
                <a16:creationId xmlns:a16="http://schemas.microsoft.com/office/drawing/2014/main" id="{5E3FA78F-9815-470C-AAC7-65118010A9A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0231" y="1517650"/>
            <a:ext cx="10881972" cy="465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28AFCB-3188-4961-AAEE-DB4C7846ECE6}"/>
              </a:ext>
            </a:extLst>
          </p:cNvPr>
          <p:cNvSpPr/>
          <p:nvPr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50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07A185B-7FCD-47CF-95BF-44DC96F2E8FE}"/>
              </a:ext>
            </a:extLst>
          </p:cNvPr>
          <p:cNvSpPr/>
          <p:nvPr userDrawn="1"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EB3B6D-B8AE-4726-B830-C447FAD3394B}"/>
              </a:ext>
            </a:extLst>
          </p:cNvPr>
          <p:cNvCxnSpPr/>
          <p:nvPr userDrawn="1"/>
        </p:nvCxnSpPr>
        <p:spPr>
          <a:xfrm>
            <a:off x="1" y="6745288"/>
            <a:ext cx="12192000" cy="0"/>
          </a:xfrm>
          <a:prstGeom prst="line">
            <a:avLst/>
          </a:prstGeom>
          <a:ln w="19050">
            <a:solidFill>
              <a:srgbClr val="F47D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653567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6210" r:id="rId1"/>
    <p:sldLayoutId id="2147486211" r:id="rId2"/>
    <p:sldLayoutId id="2147486212" r:id="rId3"/>
    <p:sldLayoutId id="2147486213" r:id="rId4"/>
    <p:sldLayoutId id="2147486214" r:id="rId5"/>
    <p:sldLayoutId id="2147486215" r:id="rId6"/>
    <p:sldLayoutId id="2147486216" r:id="rId7"/>
    <p:sldLayoutId id="2147486217" r:id="rId8"/>
    <p:sldLayoutId id="2147486218" r:id="rId9"/>
    <p:sldLayoutId id="2147486219" r:id="rId10"/>
    <p:sldLayoutId id="2147486220" r:id="rId11"/>
    <p:sldLayoutId id="2147486221" r:id="rId12"/>
    <p:sldLayoutId id="2147486222" r:id="rId13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Wingdings" panose="05000000000000000000" pitchFamily="2" charset="2"/>
        <a:buChar char="§"/>
        <a:defRPr sz="28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1pPr>
      <a:lvl2pPr marL="742950" indent="-28575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600">
          <a:solidFill>
            <a:schemeClr val="bg1"/>
          </a:solidFill>
          <a:latin typeface="Calibri" panose="020F0502020204030204" pitchFamily="34" charset="0"/>
        </a:defRPr>
      </a:lvl2pPr>
      <a:lvl3pPr marL="11430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400">
          <a:solidFill>
            <a:schemeClr val="bg1"/>
          </a:solidFill>
          <a:latin typeface="Calibri" panose="020F0502020204030204" pitchFamily="34" charset="0"/>
        </a:defRPr>
      </a:lvl3pPr>
      <a:lvl4pPr marL="16002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200">
          <a:solidFill>
            <a:schemeClr val="bg1"/>
          </a:solidFill>
          <a:latin typeface="Calibri" panose="020F0502020204030204" pitchFamily="34" charset="0"/>
        </a:defRPr>
      </a:lvl4pPr>
      <a:lvl5pPr marL="20574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000">
          <a:solidFill>
            <a:schemeClr val="bg1"/>
          </a:solidFill>
          <a:latin typeface="Calibri" panose="020F0502020204030204" pitchFamily="34" charset="0"/>
        </a:defRPr>
      </a:lvl5pPr>
      <a:lvl6pPr marL="25146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452">
          <p15:clr>
            <a:srgbClr val="F26B43"/>
          </p15:clr>
        </p15:guide>
        <p15:guide id="3" orient="horz" pos="1008">
          <p15:clr>
            <a:srgbClr val="F26B43"/>
          </p15:clr>
        </p15:guide>
        <p15:guide id="4" orient="horz" pos="4128">
          <p15:clr>
            <a:srgbClr val="F26B43"/>
          </p15:clr>
        </p15:guide>
        <p15:guide id="5" orient="horz" pos="3888">
          <p15:clr>
            <a:srgbClr val="F26B43"/>
          </p15:clr>
        </p15:guide>
        <p15:guide id="6" orient="horz" pos="4032">
          <p15:clr>
            <a:srgbClr val="F26B43"/>
          </p15:clr>
        </p15:guide>
        <p15:guide id="7" pos="312">
          <p15:clr>
            <a:srgbClr val="F26B43"/>
          </p15:clr>
        </p15:guide>
        <p15:guide id="8" pos="7248">
          <p15:clr>
            <a:srgbClr val="F26B43"/>
          </p15:clr>
        </p15:guide>
        <p15:guide id="9" pos="741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F52D92-A6CF-CF4F-92B9-42D0E80ABB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1" y="1612005"/>
            <a:ext cx="10820083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aa-ET" dirty="0"/>
          </a:p>
        </p:txBody>
      </p:sp>
      <p:sp>
        <p:nvSpPr>
          <p:cNvPr id="7" name="Holder 2">
            <a:extLst>
              <a:ext uri="{FF2B5EF4-FFF2-40B4-BE49-F238E27FC236}">
                <a16:creationId xmlns:a16="http://schemas.microsoft.com/office/drawing/2014/main" id="{6FCE8ED6-8779-B449-8602-99E3826D95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1" y="609600"/>
            <a:ext cx="10820083" cy="6093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lang="aa-ET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5029B29-757A-384D-9ABD-2A0FEF39F6FC}"/>
              </a:ext>
            </a:extLst>
          </p:cNvPr>
          <p:cNvCxnSpPr>
            <a:cxnSpLocks/>
          </p:cNvCxnSpPr>
          <p:nvPr userDrawn="1"/>
        </p:nvCxnSpPr>
        <p:spPr>
          <a:xfrm>
            <a:off x="533400" y="609602"/>
            <a:ext cx="0" cy="492443"/>
          </a:xfrm>
          <a:prstGeom prst="line">
            <a:avLst/>
          </a:prstGeom>
          <a:ln w="63500">
            <a:solidFill>
              <a:srgbClr val="0051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bject 7">
            <a:extLst>
              <a:ext uri="{FF2B5EF4-FFF2-40B4-BE49-F238E27FC236}">
                <a16:creationId xmlns:a16="http://schemas.microsoft.com/office/drawing/2014/main" id="{211734A5-B41D-5048-BA68-635B6FC4C0DD}"/>
              </a:ext>
            </a:extLst>
          </p:cNvPr>
          <p:cNvSpPr/>
          <p:nvPr/>
        </p:nvSpPr>
        <p:spPr>
          <a:xfrm>
            <a:off x="5" y="6204340"/>
            <a:ext cx="12193271" cy="654050"/>
          </a:xfrm>
          <a:custGeom>
            <a:avLst/>
            <a:gdLst/>
            <a:ahLst/>
            <a:cxnLst/>
            <a:rect l="l" t="t" r="r" b="b"/>
            <a:pathLst>
              <a:path w="12193270" h="654050">
                <a:moveTo>
                  <a:pt x="12193193" y="0"/>
                </a:moveTo>
                <a:lnTo>
                  <a:pt x="221640" y="0"/>
                </a:lnTo>
                <a:lnTo>
                  <a:pt x="0" y="653656"/>
                </a:lnTo>
              </a:path>
            </a:pathLst>
          </a:custGeom>
          <a:ln w="12700">
            <a:solidFill>
              <a:srgbClr val="D9E5EF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2" name="Picture 11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39173DE4-3D1A-A24E-9DA5-355A5466CEFB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034" y="6324602"/>
            <a:ext cx="875968" cy="402871"/>
          </a:xfrm>
          <a:prstGeom prst="rect">
            <a:avLst/>
          </a:prstGeom>
        </p:spPr>
      </p:pic>
      <p:sp>
        <p:nvSpPr>
          <p:cNvPr id="10" name="object 6">
            <a:extLst>
              <a:ext uri="{FF2B5EF4-FFF2-40B4-BE49-F238E27FC236}">
                <a16:creationId xmlns:a16="http://schemas.microsoft.com/office/drawing/2014/main" id="{78E4929C-0042-C84F-8B07-A2BEC1394439}"/>
              </a:ext>
            </a:extLst>
          </p:cNvPr>
          <p:cNvSpPr/>
          <p:nvPr/>
        </p:nvSpPr>
        <p:spPr>
          <a:xfrm>
            <a:off x="9932816" y="6204343"/>
            <a:ext cx="2260600" cy="654050"/>
          </a:xfrm>
          <a:custGeom>
            <a:avLst/>
            <a:gdLst/>
            <a:ahLst/>
            <a:cxnLst/>
            <a:rect l="l" t="t" r="r" b="b"/>
            <a:pathLst>
              <a:path w="2260600" h="654050">
                <a:moveTo>
                  <a:pt x="2260384" y="0"/>
                </a:moveTo>
                <a:lnTo>
                  <a:pt x="221653" y="0"/>
                </a:lnTo>
                <a:lnTo>
                  <a:pt x="0" y="653656"/>
                </a:lnTo>
                <a:lnTo>
                  <a:pt x="2260384" y="653656"/>
                </a:lnTo>
                <a:lnTo>
                  <a:pt x="2260384" y="0"/>
                </a:lnTo>
                <a:close/>
              </a:path>
            </a:pathLst>
          </a:custGeom>
          <a:solidFill>
            <a:srgbClr val="8136CE"/>
          </a:solidFill>
        </p:spPr>
        <p:txBody>
          <a:bodyPr wrap="square" lIns="0" tIns="0" rIns="0" bIns="0" rtlCol="0"/>
          <a:lstStyle/>
          <a:p>
            <a:endParaRPr sz="18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B14DEA-DBE9-374D-AB29-784F069F24B6}"/>
              </a:ext>
            </a:extLst>
          </p:cNvPr>
          <p:cNvSpPr txBox="1"/>
          <p:nvPr userDrawn="1"/>
        </p:nvSpPr>
        <p:spPr>
          <a:xfrm>
            <a:off x="10210800" y="6327363"/>
            <a:ext cx="19811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spc="20" dirty="0">
                <a:solidFill>
                  <a:schemeClr val="bg1"/>
                </a:solidFill>
                <a:latin typeface="+mn-lt"/>
              </a:rPr>
              <a:t>WOR</a:t>
            </a:r>
            <a:r>
              <a:rPr lang="en-GB" sz="2000" b="1" spc="-20" dirty="0">
                <a:solidFill>
                  <a:schemeClr val="bg1"/>
                </a:solidFill>
                <a:latin typeface="+mn-lt"/>
              </a:rPr>
              <a:t>K</a:t>
            </a:r>
            <a:r>
              <a:rPr lang="en-GB" sz="2000" b="1" spc="20" dirty="0">
                <a:solidFill>
                  <a:schemeClr val="bg1"/>
                </a:solidFill>
                <a:latin typeface="+mn-lt"/>
              </a:rPr>
              <a:t>SHOP</a:t>
            </a:r>
          </a:p>
        </p:txBody>
      </p:sp>
    </p:spTree>
    <p:extLst>
      <p:ext uri="{BB962C8B-B14F-4D97-AF65-F5344CB8AC3E}">
        <p14:creationId xmlns:p14="http://schemas.microsoft.com/office/powerpoint/2010/main" val="1044989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25" r:id="rId1"/>
    <p:sldLayoutId id="2147486226" r:id="rId2"/>
    <p:sldLayoutId id="2147486227" r:id="rId3"/>
    <p:sldLayoutId id="2147486228" r:id="rId4"/>
    <p:sldLayoutId id="2147486229" r:id="rId5"/>
    <p:sldLayoutId id="2147486230" r:id="rId6"/>
    <p:sldLayoutId id="2147486231" r:id="rId7"/>
    <p:sldLayoutId id="2147486232" r:id="rId8"/>
    <p:sldLayoutId id="2147486233" r:id="rId9"/>
    <p:sldLayoutId id="2147486234" r:id="rId10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005193"/>
          </a:solidFill>
          <a:latin typeface="+mn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05193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05193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05193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5193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5193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aa-ET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280360-3C6D-A798-8CAC-A26D562C36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66259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25" imgH="424" progId="TCLayout.ActiveDocument.1">
                  <p:embed/>
                </p:oleObj>
              </mc:Choice>
              <mc:Fallback>
                <p:oleObj name="think-cell Slide" r:id="rId20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280360-3C6D-A798-8CAC-A26D562C36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125" y="6581775"/>
            <a:ext cx="9454785" cy="26987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00152" y="6343650"/>
            <a:ext cx="540000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5125" y="366714"/>
            <a:ext cx="11460163" cy="722311"/>
          </a:xfrm>
          <a:prstGeom prst="rect">
            <a:avLst/>
          </a:prstGeom>
        </p:spPr>
        <p:txBody>
          <a:bodyPr vert="horz" lIns="72000" tIns="72000" rIns="0" bIns="0" rtlCol="0" anchor="t" anchorCtr="0">
            <a:noAutofit/>
          </a:bodyPr>
          <a:lstStyle/>
          <a:p>
            <a:r>
              <a:rPr lang="en-GB"/>
              <a:t>Click to enter slide 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9871075" y="6343650"/>
            <a:ext cx="1077912" cy="2698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46B58B4-0D72-4C8B-9355-854FB5782278}" type="datetime4">
              <a:rPr lang="en-GB" smtClean="0"/>
              <a:pPr/>
              <a:t>12 May 2025</a:t>
            </a:fld>
            <a:endParaRPr lang="en-GB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BC2AD35-7761-4742-BEF1-3D0CAD2E1D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5" y="1303338"/>
            <a:ext cx="11460163" cy="4787899"/>
          </a:xfrm>
          <a:prstGeom prst="rect">
            <a:avLst/>
          </a:prstGeom>
        </p:spPr>
        <p:txBody>
          <a:bodyPr vert="horz" lIns="180000" tIns="180000" rIns="180000" bIns="180000" rtlCol="0">
            <a:noAutofit/>
          </a:bodyPr>
          <a:lstStyle/>
          <a:p>
            <a:pPr lvl="0"/>
            <a:r>
              <a:rPr lang="en-GB"/>
              <a:t>Click to enter text content.</a:t>
            </a:r>
            <a:br>
              <a:rPr lang="en-GB"/>
            </a:br>
            <a:r>
              <a:rPr lang="en-GB"/>
              <a:t>To increase bullet level, select your text &gt; press ‘Tab’.</a:t>
            </a:r>
            <a:br>
              <a:rPr lang="en-GB"/>
            </a:br>
            <a:r>
              <a:rPr lang="en-GB"/>
              <a:t>To decrease bullet level, select your text &gt; press ‘Shift’ + ‘Tab’.</a:t>
            </a:r>
            <a:br>
              <a:rPr lang="en-GB"/>
            </a:br>
            <a:r>
              <a:rPr lang="en-GB"/>
              <a:t>To remove bullet levels, select your text &gt; right click &gt; press ‘bullets’.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  <a:p>
            <a:pPr lvl="4"/>
            <a:endParaRPr lang="en-GB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8F23E97-D43B-08E0-602A-BE1D7C342802}"/>
              </a:ext>
            </a:extLst>
          </p:cNvPr>
          <p:cNvGrpSpPr/>
          <p:nvPr userDrawn="1"/>
        </p:nvGrpSpPr>
        <p:grpSpPr>
          <a:xfrm rot="10800000" flipH="1" flipV="1">
            <a:off x="0" y="-1"/>
            <a:ext cx="1922585" cy="491709"/>
            <a:chOff x="0" y="-7916"/>
            <a:chExt cx="18431747" cy="3773073"/>
          </a:xfrm>
        </p:grpSpPr>
        <p:sp>
          <p:nvSpPr>
            <p:cNvPr id="15" name="Rectangle 3">
              <a:extLst>
                <a:ext uri="{FF2B5EF4-FFF2-40B4-BE49-F238E27FC236}">
                  <a16:creationId xmlns:a16="http://schemas.microsoft.com/office/drawing/2014/main" id="{48DC2B47-D41A-7A2D-6C9B-1AC56A5F681F}"/>
                </a:ext>
              </a:extLst>
            </p:cNvPr>
            <p:cNvSpPr/>
            <p:nvPr userDrawn="1"/>
          </p:nvSpPr>
          <p:spPr>
            <a:xfrm>
              <a:off x="1" y="-7916"/>
              <a:ext cx="18431746" cy="3773073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  <p:sp>
          <p:nvSpPr>
            <p:cNvPr id="16" name="Rectangle 3">
              <a:extLst>
                <a:ext uri="{FF2B5EF4-FFF2-40B4-BE49-F238E27FC236}">
                  <a16:creationId xmlns:a16="http://schemas.microsoft.com/office/drawing/2014/main" id="{4411BA55-39C6-FCC1-B57C-D995C0AB82E6}"/>
                </a:ext>
              </a:extLst>
            </p:cNvPr>
            <p:cNvSpPr/>
            <p:nvPr userDrawn="1"/>
          </p:nvSpPr>
          <p:spPr>
            <a:xfrm>
              <a:off x="0" y="-1505"/>
              <a:ext cx="18431746" cy="3275560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6000">
                  <a:schemeClr val="tx2"/>
                </a:gs>
                <a:gs pos="55000">
                  <a:srgbClr val="F8981B"/>
                </a:gs>
                <a:gs pos="35000">
                  <a:srgbClr val="F98D15"/>
                </a:gs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  <a:gs pos="79000">
                  <a:schemeClr val="tx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074B9C1-01D2-A323-28D1-60FB8BE1C837}"/>
              </a:ext>
            </a:extLst>
          </p:cNvPr>
          <p:cNvGrpSpPr/>
          <p:nvPr userDrawn="1"/>
        </p:nvGrpSpPr>
        <p:grpSpPr>
          <a:xfrm flipH="1" flipV="1">
            <a:off x="10125075" y="6374229"/>
            <a:ext cx="2065338" cy="491709"/>
            <a:chOff x="0" y="-7916"/>
            <a:chExt cx="18431747" cy="3773073"/>
          </a:xfrm>
        </p:grpSpPr>
        <p:sp>
          <p:nvSpPr>
            <p:cNvPr id="18" name="Rectangle 3">
              <a:extLst>
                <a:ext uri="{FF2B5EF4-FFF2-40B4-BE49-F238E27FC236}">
                  <a16:creationId xmlns:a16="http://schemas.microsoft.com/office/drawing/2014/main" id="{7E9C89CD-08D9-BF82-2113-A88BF0C5ED7B}"/>
                </a:ext>
              </a:extLst>
            </p:cNvPr>
            <p:cNvSpPr/>
            <p:nvPr userDrawn="1"/>
          </p:nvSpPr>
          <p:spPr>
            <a:xfrm>
              <a:off x="1" y="-7916"/>
              <a:ext cx="18431746" cy="3773073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  <p:sp>
          <p:nvSpPr>
            <p:cNvPr id="19" name="Rectangle 3">
              <a:extLst>
                <a:ext uri="{FF2B5EF4-FFF2-40B4-BE49-F238E27FC236}">
                  <a16:creationId xmlns:a16="http://schemas.microsoft.com/office/drawing/2014/main" id="{BE946F7F-F051-73DE-9F7B-C9591BB15469}"/>
                </a:ext>
              </a:extLst>
            </p:cNvPr>
            <p:cNvSpPr/>
            <p:nvPr userDrawn="1"/>
          </p:nvSpPr>
          <p:spPr>
            <a:xfrm>
              <a:off x="0" y="-1505"/>
              <a:ext cx="18431746" cy="3275560"/>
            </a:xfrm>
            <a:custGeom>
              <a:avLst/>
              <a:gdLst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22758400 w 22758400"/>
                <a:gd name="connsiteY2" fmla="*/ 4914900 h 4914900"/>
                <a:gd name="connsiteX3" fmla="*/ 0 w 22758400"/>
                <a:gd name="connsiteY3" fmla="*/ 4914900 h 4914900"/>
                <a:gd name="connsiteX4" fmla="*/ 0 w 22758400"/>
                <a:gd name="connsiteY4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  <a:gd name="connsiteX0" fmla="*/ 0 w 22758400"/>
                <a:gd name="connsiteY0" fmla="*/ 0 h 4914900"/>
                <a:gd name="connsiteX1" fmla="*/ 22758400 w 22758400"/>
                <a:gd name="connsiteY1" fmla="*/ 0 h 4914900"/>
                <a:gd name="connsiteX2" fmla="*/ 0 w 22758400"/>
                <a:gd name="connsiteY2" fmla="*/ 4914900 h 4914900"/>
                <a:gd name="connsiteX3" fmla="*/ 0 w 22758400"/>
                <a:gd name="connsiteY3" fmla="*/ 0 h 491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58400" h="4914900">
                  <a:moveTo>
                    <a:pt x="0" y="0"/>
                  </a:moveTo>
                  <a:lnTo>
                    <a:pt x="22758400" y="0"/>
                  </a:lnTo>
                  <a:cubicBezTo>
                    <a:pt x="14117190" y="548054"/>
                    <a:pt x="5405641" y="1975338"/>
                    <a:pt x="0" y="4914900"/>
                  </a:cubicBez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16000">
                  <a:schemeClr val="tx2"/>
                </a:gs>
                <a:gs pos="55000">
                  <a:srgbClr val="F8981B"/>
                </a:gs>
                <a:gs pos="35000">
                  <a:srgbClr val="F98D15"/>
                </a:gs>
                <a:gs pos="99083">
                  <a:srgbClr val="F26200"/>
                </a:gs>
                <a:gs pos="0">
                  <a:schemeClr val="tx2">
                    <a:lumMod val="75000"/>
                  </a:schemeClr>
                </a:gs>
                <a:gs pos="79000">
                  <a:schemeClr val="tx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88598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36" r:id="rId1"/>
    <p:sldLayoutId id="2147486237" r:id="rId2"/>
    <p:sldLayoutId id="2147486238" r:id="rId3"/>
    <p:sldLayoutId id="2147486239" r:id="rId4"/>
    <p:sldLayoutId id="2147486240" r:id="rId5"/>
    <p:sldLayoutId id="2147486241" r:id="rId6"/>
    <p:sldLayoutId id="2147486242" r:id="rId7"/>
    <p:sldLayoutId id="2147486243" r:id="rId8"/>
    <p:sldLayoutId id="2147486244" r:id="rId9"/>
    <p:sldLayoutId id="2147486245" r:id="rId10"/>
    <p:sldLayoutId id="2147486246" r:id="rId11"/>
    <p:sldLayoutId id="2147486247" r:id="rId12"/>
    <p:sldLayoutId id="2147486248" r:id="rId13"/>
    <p:sldLayoutId id="2147486249" r:id="rId14"/>
    <p:sldLayoutId id="2147486250" r:id="rId15"/>
    <p:sldLayoutId id="2147486251" r:id="rId16"/>
    <p:sldLayoutId id="2147486252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16000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216000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36000" indent="-216000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▫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000" indent="-216000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◦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440000" indent="-216000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656000" indent="-216000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872000" indent="-216000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088000" indent="-216000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A6A6A6"/>
          </p15:clr>
        </p15:guide>
        <p15:guide id="2" pos="7680">
          <p15:clr>
            <a:srgbClr val="A6A6A6"/>
          </p15:clr>
        </p15:guide>
        <p15:guide id="3" pos="230">
          <p15:clr>
            <a:srgbClr val="A6A6A6"/>
          </p15:clr>
        </p15:guide>
        <p15:guide id="4" pos="1301">
          <p15:clr>
            <a:srgbClr val="A6A6A6"/>
          </p15:clr>
        </p15:guide>
        <p15:guide id="5" pos="1461">
          <p15:clr>
            <a:srgbClr val="A6A6A6"/>
          </p15:clr>
        </p15:guide>
        <p15:guide id="6" pos="2531">
          <p15:clr>
            <a:srgbClr val="A6A6A6"/>
          </p15:clr>
        </p15:guide>
        <p15:guide id="7" pos="2690">
          <p15:clr>
            <a:srgbClr val="A6A6A6"/>
          </p15:clr>
        </p15:guide>
        <p15:guide id="8" pos="3759">
          <p15:clr>
            <a:srgbClr val="A6A6A6"/>
          </p15:clr>
        </p15:guide>
        <p15:guide id="9" pos="3920">
          <p15:clr>
            <a:srgbClr val="A6A6A6"/>
          </p15:clr>
        </p15:guide>
        <p15:guide id="10" pos="4989">
          <p15:clr>
            <a:srgbClr val="A6A6A6"/>
          </p15:clr>
        </p15:guide>
        <p15:guide id="11" pos="5148">
          <p15:clr>
            <a:srgbClr val="A6A6A6"/>
          </p15:clr>
        </p15:guide>
        <p15:guide id="12" pos="6218">
          <p15:clr>
            <a:srgbClr val="A6A6A6"/>
          </p15:clr>
        </p15:guide>
        <p15:guide id="13" pos="6378">
          <p15:clr>
            <a:srgbClr val="A6A6A6"/>
          </p15:clr>
        </p15:guide>
        <p15:guide id="14" pos="7449">
          <p15:clr>
            <a:srgbClr val="A6A6A6"/>
          </p15:clr>
        </p15:guide>
        <p15:guide id="15" orient="horz" pos="5">
          <p15:clr>
            <a:srgbClr val="A6A6A6"/>
          </p15:clr>
        </p15:guide>
        <p15:guide id="16" orient="horz" pos="4315">
          <p15:clr>
            <a:srgbClr val="A6A6A6"/>
          </p15:clr>
        </p15:guide>
        <p15:guide id="17" orient="horz" pos="153">
          <p15:clr>
            <a:srgbClr val="A6A6A6"/>
          </p15:clr>
        </p15:guide>
        <p15:guide id="18" orient="horz" pos="686">
          <p15:clr>
            <a:srgbClr val="A6A6A6"/>
          </p15:clr>
        </p15:guide>
        <p15:guide id="19" orient="horz" pos="799">
          <p15:clr>
            <a:srgbClr val="A6A6A6"/>
          </p15:clr>
        </p15:guide>
        <p15:guide id="20" orient="horz" pos="1323">
          <p15:clr>
            <a:srgbClr val="A6A6A6"/>
          </p15:clr>
        </p15:guide>
        <p15:guide id="21" orient="horz" pos="2330">
          <p15:clr>
            <a:srgbClr val="A6A6A6"/>
          </p15:clr>
        </p15:guide>
        <p15:guide id="22" orient="horz" pos="3335">
          <p15:clr>
            <a:srgbClr val="A6A6A6"/>
          </p15:clr>
        </p15:guide>
        <p15:guide id="23" orient="horz" pos="3837">
          <p15:clr>
            <a:srgbClr val="A6A6A6"/>
          </p15:clr>
        </p15:guide>
        <p15:guide id="24" orient="horz" pos="4166">
          <p15:clr>
            <a:srgbClr val="A6A6A6"/>
          </p15:clr>
        </p15:guide>
        <p15:guide id="25" orient="horz" pos="1827">
          <p15:clr>
            <a:srgbClr val="A4A3A4"/>
          </p15:clr>
        </p15:guide>
        <p15:guide id="26" orient="horz" pos="2818">
          <p15:clr>
            <a:srgbClr val="A4A3A4"/>
          </p15:clr>
        </p15:guide>
        <p15:guide id="27" orient="horz" pos="3996">
          <p15:clr>
            <a:srgbClr val="A4A3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2EC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2286" y="227013"/>
            <a:ext cx="1035896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6" y="1416053"/>
            <a:ext cx="10358967" cy="479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B4CCBE2E-CAAE-B74A-AD06-6C8F94F20E4C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5992" y="6156880"/>
            <a:ext cx="650240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76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54" r:id="rId1"/>
    <p:sldLayoutId id="2147486255" r:id="rId2"/>
    <p:sldLayoutId id="2147486256" r:id="rId3"/>
    <p:sldLayoutId id="2147486257" r:id="rId4"/>
    <p:sldLayoutId id="2147486258" r:id="rId5"/>
    <p:sldLayoutId id="2147486259" r:id="rId6"/>
    <p:sldLayoutId id="2147486260" r:id="rId7"/>
    <p:sldLayoutId id="2147486261" r:id="rId8"/>
    <p:sldLayoutId id="2147486262" r:id="rId9"/>
    <p:sldLayoutId id="2147486263" r:id="rId10"/>
    <p:sldLayoutId id="2147486264" r:id="rId11"/>
    <p:sldLayoutId id="2147486265" r:id="rId12"/>
    <p:sldLayoutId id="2147486266" r:id="rId13"/>
    <p:sldLayoutId id="2147486267" r:id="rId14"/>
    <p:sldLayoutId id="2147486268" r:id="rId15"/>
    <p:sldLayoutId id="2147486269" r:id="rId16"/>
    <p:sldLayoutId id="2147486270" r:id="rId17"/>
  </p:sldLayoutIdLst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xStyles>
    <p:titleStyle>
      <a:lvl1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000" b="1">
          <a:solidFill>
            <a:srgbClr val="3333FF"/>
          </a:solidFill>
          <a:latin typeface="Calibri"/>
          <a:ea typeface="MS PGothic" pitchFamily="34" charset="-128"/>
          <a:cs typeface="Calibri"/>
        </a:defRPr>
      </a:lvl1pPr>
      <a:lvl2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5pPr>
      <a:lvl6pPr marL="153622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6pPr>
      <a:lvl7pPr marL="199328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7pPr>
      <a:lvl8pPr marL="245033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8pPr>
      <a:lvl9pPr marL="290739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9pPr>
    </p:titleStyle>
    <p:bodyStyle>
      <a:lvl1pPr marL="390525" indent="-292100" algn="l" defTabSz="412750" rtl="0" eaLnBrk="0" fontAlgn="base" hangingPunct="0">
        <a:lnSpc>
          <a:spcPct val="105000"/>
        </a:lnSpc>
        <a:spcBef>
          <a:spcPct val="30000"/>
        </a:spcBef>
        <a:spcAft>
          <a:spcPts val="800"/>
        </a:spcAft>
        <a:buClr>
          <a:srgbClr val="000000"/>
        </a:buClr>
        <a:buSzPct val="100000"/>
        <a:buFont typeface="Arial" pitchFamily="-72" charset="0"/>
        <a:buChar char="•"/>
        <a:defRPr sz="2900" b="1">
          <a:solidFill>
            <a:srgbClr val="000000"/>
          </a:solidFill>
          <a:latin typeface="Calibri" charset="0"/>
          <a:ea typeface="MS PGothic" pitchFamily="34" charset="-128"/>
          <a:cs typeface="MS PGothic" charset="0"/>
        </a:defRPr>
      </a:lvl1pPr>
      <a:lvl2pPr marL="782638" indent="-260350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600" b="1">
          <a:solidFill>
            <a:srgbClr val="000000"/>
          </a:solidFill>
          <a:latin typeface="Calibri" charset="0"/>
          <a:ea typeface="MS PGothic" pitchFamily="34" charset="-128"/>
        </a:defRPr>
      </a:lvl2pPr>
      <a:lvl3pPr marL="1173163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400" b="1">
          <a:solidFill>
            <a:srgbClr val="000000"/>
          </a:solidFill>
          <a:latin typeface="Calibri" charset="0"/>
          <a:ea typeface="ＭＳ Ｐゴシック" pitchFamily="-123" charset="-128"/>
          <a:cs typeface="ＭＳ Ｐゴシック" pitchFamily="-72" charset="-128"/>
        </a:defRPr>
      </a:lvl3pPr>
      <a:lvl4pPr marL="1565275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200" b="1">
          <a:solidFill>
            <a:srgbClr val="000000"/>
          </a:solidFill>
          <a:latin typeface="Calibri" charset="0"/>
          <a:ea typeface="ＭＳ Ｐゴシック" pitchFamily="-123" charset="-128"/>
        </a:defRPr>
      </a:lvl4pPr>
      <a:lvl5pPr marL="1957388" indent="-195263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000" b="1">
          <a:solidFill>
            <a:srgbClr val="000000"/>
          </a:solidFill>
          <a:latin typeface="Calibri" charset="0"/>
          <a:ea typeface="ＭＳ Ｐゴシック" pitchFamily="-123" charset="-128"/>
        </a:defRPr>
      </a:lvl5pPr>
      <a:lvl6pPr marL="2615386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6pPr>
      <a:lvl7pPr marL="3072444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7pPr>
      <a:lvl8pPr marL="3529502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8pPr>
      <a:lvl9pPr marL="3986559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1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73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31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89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47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0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62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69.xml"/><Relationship Id="rId6" Type="http://schemas.microsoft.com/office/2007/relationships/hdphoto" Target="../media/hdphoto2.wdp"/><Relationship Id="rId5" Type="http://schemas.openxmlformats.org/officeDocument/2006/relationships/image" Target="../media/image24.png"/><Relationship Id="rId4" Type="http://schemas.microsoft.com/office/2007/relationships/hdphoto" Target="../media/hdphoto1.wdp"/></Relationships>
</file>

<file path=ppt/slides/_rels/slide22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9.xml"/><Relationship Id="rId4" Type="http://schemas.openxmlformats.org/officeDocument/2006/relationships/image" Target="../media/image22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5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8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8.sv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7.xml"/></Relationships>
</file>

<file path=ppt/slides/_rels/slide40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5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5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35.sv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35.xml"/><Relationship Id="rId1" Type="http://schemas.openxmlformats.org/officeDocument/2006/relationships/tags" Target="../tags/tag30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chart" Target="../charts/chart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35.xml"/><Relationship Id="rId1" Type="http://schemas.openxmlformats.org/officeDocument/2006/relationships/tags" Target="../tags/tag31.xml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chart" Target="../charts/char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46.jpeg"/><Relationship Id="rId2" Type="http://schemas.openxmlformats.org/officeDocument/2006/relationships/slideLayout" Target="../slideLayouts/slideLayout135.xml"/><Relationship Id="rId1" Type="http://schemas.openxmlformats.org/officeDocument/2006/relationships/tags" Target="../tags/tag32.xml"/><Relationship Id="rId6" Type="http://schemas.openxmlformats.org/officeDocument/2006/relationships/chart" Target="../charts/chart3.xml"/><Relationship Id="rId5" Type="http://schemas.openxmlformats.org/officeDocument/2006/relationships/image" Target="../media/image45.svg"/><Relationship Id="rId4" Type="http://schemas.openxmlformats.org/officeDocument/2006/relationships/image" Target="../media/image44.pn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8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03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0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03.xml"/><Relationship Id="rId4" Type="http://schemas.microsoft.com/office/2007/relationships/hdphoto" Target="../media/hdphoto5.wdp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03.xml"/><Relationship Id="rId4" Type="http://schemas.microsoft.com/office/2007/relationships/hdphoto" Target="../media/hdphoto6.wdp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4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12.xml"/><Relationship Id="rId4" Type="http://schemas.microsoft.com/office/2007/relationships/hdphoto" Target="../media/hdphoto7.wdp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12.xml"/><Relationship Id="rId6" Type="http://schemas.microsoft.com/office/2007/relationships/hdphoto" Target="../media/hdphoto9.wdp"/><Relationship Id="rId5" Type="http://schemas.openxmlformats.org/officeDocument/2006/relationships/image" Target="../media/image51.png"/><Relationship Id="rId4" Type="http://schemas.microsoft.com/office/2007/relationships/hdphoto" Target="../media/hdphoto8.wdp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12.xml"/><Relationship Id="rId4" Type="http://schemas.microsoft.com/office/2007/relationships/hdphoto" Target="../media/hdphoto10.wdp"/></Relationships>
</file>

<file path=ppt/slides/_rels/slide63.xml.rels><?xml version="1.0" encoding="UTF-8" standalone="yes"?>
<Relationships xmlns="http://schemas.openxmlformats.org/package/2006/relationships"><Relationship Id="rId3" Type="http://schemas.microsoft.com/office/2007/relationships/hdphoto" Target="../media/hdphoto11.wdp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81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15.xml"/><Relationship Id="rId6" Type="http://schemas.microsoft.com/office/2007/relationships/hdphoto" Target="../media/hdphoto13.wdp"/><Relationship Id="rId5" Type="http://schemas.openxmlformats.org/officeDocument/2006/relationships/image" Target="../media/image56.png"/><Relationship Id="rId4" Type="http://schemas.microsoft.com/office/2007/relationships/hdphoto" Target="../media/hdphoto12.wdp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9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4.xml"/></Relationships>
</file>

<file path=ppt/slides/_rels/slide71.xml.rels><?xml version="1.0" encoding="UTF-8" standalone="yes"?>
<Relationships xmlns="http://schemas.openxmlformats.org/package/2006/relationships"><Relationship Id="rId3" Type="http://schemas.microsoft.com/office/2007/relationships/hdphoto" Target="../media/hdphoto14.wdp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9.xml"/><Relationship Id="rId5" Type="http://schemas.openxmlformats.org/officeDocument/2006/relationships/image" Target="../media/image22.emf"/><Relationship Id="rId4" Type="http://schemas.openxmlformats.org/officeDocument/2006/relationships/image" Target="../media/image58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69.xml"/><Relationship Id="rId4" Type="http://schemas.openxmlformats.org/officeDocument/2006/relationships/image" Target="../media/image22.emf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448624-C9AC-ED8F-7EFC-3F7D68C1DA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6">
            <a:extLst>
              <a:ext uri="{FF2B5EF4-FFF2-40B4-BE49-F238E27FC236}">
                <a16:creationId xmlns:a16="http://schemas.microsoft.com/office/drawing/2014/main" id="{4A573E47-8607-3DD3-977B-19416C1627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4347403"/>
            <a:ext cx="12192000" cy="51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 numCol="1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Meletios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-Athanasios (Thanos) C Dimopoulos, MD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Robert Z Orlowski, MD, PhD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ＭＳ Ｐゴシック" charset="-128"/>
              <a:cs typeface="Calibri" panose="020F0502020204030204" pitchFamily="34" charset="0"/>
            </a:endParaRPr>
          </a:p>
        </p:txBody>
      </p:sp>
      <p:sp>
        <p:nvSpPr>
          <p:cNvPr id="7" name="Text Box 3">
            <a:extLst>
              <a:ext uri="{FF2B5EF4-FFF2-40B4-BE49-F238E27FC236}">
                <a16:creationId xmlns:a16="http://schemas.microsoft.com/office/drawing/2014/main" id="{AAE98998-C477-5FFE-9BA7-3233723768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27749" y="5692816"/>
            <a:ext cx="4536503" cy="94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anchor="b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364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" charset="2"/>
              <a:buNone/>
              <a:tabLst/>
              <a:defRPr/>
            </a:pPr>
            <a:r>
              <a:rPr kumimoji="0" lang="en-US" altLang="x-none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Moderator</a:t>
            </a:r>
            <a:endParaRPr kumimoji="0" lang="en-US" altLang="x-none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ＭＳ Ｐゴシック" charset="-128"/>
              <a:cs typeface="Calibri" panose="020F050202020403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ts val="364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" charset="2"/>
              <a:buNone/>
              <a:tabLst/>
              <a:defRPr/>
            </a:pPr>
            <a:r>
              <a:rPr kumimoji="0" lang="en-US" altLang="x-none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Neil Love, MD</a:t>
            </a:r>
          </a:p>
        </p:txBody>
      </p:sp>
      <p:sp>
        <p:nvSpPr>
          <p:cNvPr id="9" name="Text Box 7">
            <a:extLst>
              <a:ext uri="{FF2B5EF4-FFF2-40B4-BE49-F238E27FC236}">
                <a16:creationId xmlns:a16="http://schemas.microsoft.com/office/drawing/2014/main" id="{7160E156-0C12-5BC9-8788-023C4B4E61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47392" y="3778957"/>
            <a:ext cx="289721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x-none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Faculty 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2163A8FC-CA37-80AE-C973-5F8D0FFCDB4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2172289"/>
            <a:ext cx="12192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000" b="1">
                <a:solidFill>
                  <a:srgbClr val="3333FF"/>
                </a:solidFill>
                <a:latin typeface="Calibri"/>
                <a:ea typeface="MS PGothic" pitchFamily="34" charset="-128"/>
                <a:cs typeface="Calibri"/>
              </a:defRPr>
            </a:lvl1pPr>
            <a:lvl2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153622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6pPr>
            <a:lvl7pPr marL="199328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7pPr>
            <a:lvl8pPr marL="245033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8pPr>
            <a:lvl9pPr marL="290739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41275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Thursday, May 8, 2025​</a:t>
            </a:r>
            <a:b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</a:b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5:00 PM – 6:00 PM ET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EBD42EB9-CBC9-0631-C611-0C7B465B74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382961"/>
            <a:ext cx="12192000" cy="488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000" b="1">
                <a:solidFill>
                  <a:srgbClr val="3333FF"/>
                </a:solidFill>
                <a:latin typeface="Calibri"/>
                <a:ea typeface="MS PGothic" pitchFamily="34" charset="-128"/>
                <a:cs typeface="Calibri"/>
              </a:defRPr>
            </a:lvl1pPr>
            <a:lvl2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153622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6pPr>
            <a:lvl7pPr marL="199328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7pPr>
            <a:lvl8pPr marL="245033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8pPr>
            <a:lvl9pPr marL="290739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412750" rtl="0" eaLnBrk="0" fontAlgn="base" latinLnBrk="0" hangingPunct="0">
              <a:lnSpc>
                <a:spcPts val="4700"/>
              </a:lnSpc>
              <a:spcBef>
                <a:spcPts val="12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None/>
              <a:tabLst/>
              <a:defRPr/>
            </a:pPr>
            <a:r>
              <a:rPr kumimoji="0" lang="en-US" sz="2600" b="0" i="1" u="none" strike="noStrike" kern="1200" cap="none" spc="0" normalizeH="0" baseline="0" noProof="0" dirty="0">
                <a:ln>
                  <a:noFill/>
                </a:ln>
                <a:solidFill>
                  <a:srgbClr val="015593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 CME/MOC-Accredited Live Webinar</a:t>
            </a:r>
            <a:endParaRPr kumimoji="0" lang="en-US" sz="2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1D8F26D-47D3-672E-D065-92BCF35034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92671"/>
            <a:ext cx="12192000" cy="6465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000" b="1">
                <a:solidFill>
                  <a:srgbClr val="3333FF"/>
                </a:solidFill>
                <a:latin typeface="Calibri"/>
                <a:ea typeface="MS PGothic" pitchFamily="34" charset="-128"/>
                <a:cs typeface="Calibri"/>
              </a:defRPr>
            </a:lvl1pPr>
            <a:lvl2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153622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6pPr>
            <a:lvl7pPr marL="199328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7pPr>
            <a:lvl8pPr marL="245033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8pPr>
            <a:lvl9pPr marL="290739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412750" rtl="0" eaLnBrk="0" fontAlgn="base" latinLnBrk="0" hangingPunct="0">
              <a:lnSpc>
                <a:spcPts val="3800"/>
              </a:lnSpc>
              <a:spcBef>
                <a:spcPts val="24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None/>
              <a:tabLst/>
              <a:defRPr/>
            </a:pPr>
            <a: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rgbClr val="0331F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Year in Review: </a:t>
            </a:r>
            <a:b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rgbClr val="0331F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</a:br>
            <a: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rgbClr val="0331F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Management of Multiple Myeloma</a:t>
            </a:r>
            <a:endParaRPr kumimoji="0" lang="en-US" sz="4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MS PGothic" pitchFamily="34" charset="-128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96607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45172D-1F72-DEB3-22C1-EFABE75A27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F8389CE-8AE1-6550-58B8-D96265EC332D}"/>
              </a:ext>
            </a:extLst>
          </p:cNvPr>
          <p:cNvSpPr txBox="1"/>
          <p:nvPr/>
        </p:nvSpPr>
        <p:spPr>
          <a:xfrm>
            <a:off x="0" y="87681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Key Datase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257777-823A-5542-B7FE-983D7FDF26D8}"/>
              </a:ext>
            </a:extLst>
          </p:cNvPr>
          <p:cNvSpPr txBox="1"/>
          <p:nvPr/>
        </p:nvSpPr>
        <p:spPr>
          <a:xfrm>
            <a:off x="623392" y="836712"/>
            <a:ext cx="10585176" cy="53040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8425" marR="0" lvl="0" indent="0" algn="l" defTabSz="455613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letios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Athanasios (Thanos) C Dimopoulos, MD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ateos MV et al.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Overall survival (OS)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with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ciltacabtagene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utoleucel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(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cilta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-cel)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versus standard of </a:t>
            </a:r>
            <a:r>
              <a:rPr lang="en-US" sz="1800" b="0" kern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c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re (SoC) in lenalidomide (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len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)-refractory multiple myeloma (MM):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hase 3 CARTITUDE-4 study update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IMS 2024;Abstract OA-65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ilawadhi S et al.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de-cel vs standard regimens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n triple-class-exposed relapsed and refractory multiple myeloma: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Updated KarMMa-3 analyse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Blood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2024;144(23):2389-401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Freeman CL et al. Phase 2 registrational study of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nitocabtagene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utoleucel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for the treatment of patients with relapsed and/or </a:t>
            </a:r>
            <a:r>
              <a:rPr lang="en-US" sz="1800" b="0" kern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efractory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</a:t>
            </a:r>
            <a:r>
              <a:rPr lang="en-US" sz="1800" b="0" kern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ultiple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myeloma: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reliminary results from the IMMagine-1 trial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ASH 2024;Abstract 1031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Jurgens EM et al.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hase I trial of MCARH109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, a G protein-coupled receptor class C </a:t>
            </a:r>
            <a:r>
              <a:rPr lang="en-US" sz="1800" b="0" kern="0" dirty="0">
                <a:solidFill>
                  <a:srgbClr val="000000"/>
                </a:solidFill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g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oup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5 member D (GPRC5D)-targeted chimeric antigen receptor T-cell therapy for multiple myeloma: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n updated analysi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</a:b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J Clin Oncol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2025;43(5):498-504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Garfall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A et al.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Long-term follow-up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from the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hase 1/2 MajesTEC-1 trial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of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teclistamab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in patients with relapsed/refractory multiple myeloma. ASCO 2024;Abstract 7540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rince HM et al.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agnetisMM-3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: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Long-term update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nd efficacy and safety of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less frequent dosing of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elranatamab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in patients with relapsed or refractory multiple myeloma. ASH 2024;Abstract 4738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19846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F5175E-06FC-4FC6-31CC-74C9C46D2C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EC52635-195B-A67B-9E62-3E1A25FD0D5D}"/>
              </a:ext>
            </a:extLst>
          </p:cNvPr>
          <p:cNvSpPr txBox="1"/>
          <p:nvPr/>
        </p:nvSpPr>
        <p:spPr>
          <a:xfrm>
            <a:off x="0" y="288032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Key Datase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B167B6C-E9D4-E6E0-AF99-035D001E3D6E}"/>
              </a:ext>
            </a:extLst>
          </p:cNvPr>
          <p:cNvSpPr txBox="1"/>
          <p:nvPr/>
        </p:nvSpPr>
        <p:spPr>
          <a:xfrm>
            <a:off x="623392" y="980728"/>
            <a:ext cx="10441160" cy="53040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8425">
              <a:spcBef>
                <a:spcPts val="1800"/>
              </a:spcBef>
              <a:defRPr/>
            </a:pP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letios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Athanasios (Thanos) C Dimopoulos, MD (continued)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asche L et al.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Long-term efficacy and safety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esults from the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hase 1/2 MonumenTAL-1 study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of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talquetamab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, a GPRC5D×CD3 bispecific antibody, in patients with relapsed/refractory multiple myeloma. EHA 2024;Abstract P915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Cohen YC et al.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Talquetamab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plus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teclistamab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n relapsed or refractory multiple myeloma.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N Engl J Med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2025;392(2):138-49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Shah MR et al.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Linvoseltamab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in patients with relapsed/refractory multiple myeloma: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Longer follow-up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nd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selected high-risk subgroup analyses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of the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Linker-MM1 study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ASH 2024;Abstract 3369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Dimopoulos MA et al.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Belantamab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afodotin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, pomalidomide, and dexamethasone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n multiple myeloma.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N Engl J Med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2024;391(5):408-21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Hungria V et al.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Belantamab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afodotin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, bortezomib, and dexamethasone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vs daratumumab, bortezomib, and dexamethasone in relapsed/refractory multiple myeloma: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Overall survival analysis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nd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updated efficacy outcome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of the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hase 3 Dreamm-7 trial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ASH 2024;Abstract 772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Usmani S et al. Phase I study of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belantamab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afodotin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in combination with standard of care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n transplant-ineligible newly diagnosed multiple myeloma: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Dreamm-9 updated interim analysi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ASH 2024;Abstract 497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8270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EA6976-58E0-FF4D-B5BE-E3C425F9E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51" y="332656"/>
            <a:ext cx="1015269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br>
              <a:rPr lang="en-US" dirty="0"/>
            </a:br>
            <a:br>
              <a:rPr lang="en-US" sz="1200" dirty="0"/>
            </a:br>
            <a:r>
              <a:rPr lang="en-US" dirty="0"/>
              <a:t>Year in Review: Management of Multiple Myeloma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39D5A5-CF8E-1043-8EA1-EB22029225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9533" y="1988840"/>
            <a:ext cx="9774980" cy="2736304"/>
          </a:xfrm>
        </p:spPr>
        <p:txBody>
          <a:bodyPr/>
          <a:lstStyle/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CO 2025 Preview</a:t>
            </a:r>
            <a:endParaRPr lang="en-US" sz="2400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1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ti-CD38 Antibodies</a:t>
            </a:r>
            <a:endParaRPr lang="en-US" sz="2400" b="1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2: </a:t>
            </a:r>
            <a:r>
              <a:rPr lang="en-US" sz="2400" b="1" kern="0" dirty="0" err="1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Belantamab</a:t>
            </a:r>
            <a:r>
              <a:rPr lang="en-US" sz="2400" b="1" kern="0" dirty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1" kern="0" dirty="0" err="1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Mafodotin</a:t>
            </a:r>
            <a:endParaRPr lang="en-US" sz="2400" b="1" kern="0" dirty="0">
              <a:solidFill>
                <a:srgbClr val="212121"/>
              </a:solidFill>
              <a:effectLst/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3: </a:t>
            </a:r>
            <a:r>
              <a:rPr lang="en-US" sz="2400" b="1" kern="0" dirty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AR T-Cell Therapy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4: </a:t>
            </a:r>
            <a:r>
              <a:rPr lang="en-US" sz="2400" b="1" kern="0" dirty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Bispecific Antibodies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5</a:t>
            </a:r>
            <a:r>
              <a:rPr lang="en-US" sz="2400">
                <a:solidFill>
                  <a:srgbClr val="3233FF"/>
                </a:solidFill>
              </a:rPr>
              <a:t>: </a:t>
            </a:r>
            <a:r>
              <a:rPr lang="en-US" sz="240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Other</a:t>
            </a:r>
            <a:r>
              <a:rPr lang="en-US" sz="2400">
                <a:solidFill>
                  <a:srgbClr val="3233FF"/>
                </a:solidFill>
              </a:rPr>
              <a:t> </a:t>
            </a:r>
            <a:r>
              <a:rPr lang="en-US" sz="2400" b="1" kern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Novel Agents</a:t>
            </a:r>
            <a:endParaRPr lang="en-US" sz="2400" b="1" kern="0" dirty="0">
              <a:solidFill>
                <a:srgbClr val="212121"/>
              </a:solidFill>
              <a:effectLst/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8500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BCA548-2BFD-D298-F2C3-3914AE2EA2C6}"/>
              </a:ext>
            </a:extLst>
          </p:cNvPr>
          <p:cNvSpPr/>
          <p:nvPr/>
        </p:nvSpPr>
        <p:spPr bwMode="auto">
          <a:xfrm>
            <a:off x="407368" y="1916832"/>
            <a:ext cx="11449272" cy="576064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3EA6976-58E0-FF4D-B5BE-E3C425F9E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51" y="332656"/>
            <a:ext cx="1015269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br>
              <a:rPr lang="en-US" dirty="0"/>
            </a:br>
            <a:br>
              <a:rPr lang="en-US" sz="1200" dirty="0"/>
            </a:br>
            <a:r>
              <a:rPr lang="en-US" dirty="0"/>
              <a:t>Year in Review: Management of Multiple Myeloma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39D5A5-CF8E-1043-8EA1-EB22029225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9533" y="1988840"/>
            <a:ext cx="9774980" cy="2736304"/>
          </a:xfrm>
        </p:spPr>
        <p:txBody>
          <a:bodyPr/>
          <a:lstStyle/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: ASCO 2025 Preview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1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ti-CD38 Antibodies</a:t>
            </a:r>
            <a:endParaRPr lang="en-US" sz="2400" b="1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2: </a:t>
            </a:r>
            <a:r>
              <a:rPr lang="en-US" sz="2400" b="1" kern="0" dirty="0" err="1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Belantamab</a:t>
            </a:r>
            <a:r>
              <a:rPr lang="en-US" sz="2400" b="1" kern="0" dirty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1" kern="0" dirty="0" err="1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Mafodotin</a:t>
            </a:r>
            <a:endParaRPr lang="en-US" sz="2400" b="1" kern="0" dirty="0">
              <a:solidFill>
                <a:srgbClr val="212121"/>
              </a:solidFill>
              <a:effectLst/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3: </a:t>
            </a:r>
            <a:r>
              <a:rPr lang="en-US" sz="2400" b="1" kern="0" dirty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AR T-Cell Therapy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4: </a:t>
            </a:r>
            <a:r>
              <a:rPr lang="en-US" sz="2400" b="1" kern="0" dirty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Bispecific Antibodies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5: </a:t>
            </a:r>
            <a:r>
              <a:rPr lang="en-US" sz="240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Other</a:t>
            </a:r>
            <a:r>
              <a:rPr lang="en-US" sz="2400" dirty="0">
                <a:solidFill>
                  <a:srgbClr val="3233FF"/>
                </a:solidFill>
              </a:rPr>
              <a:t> </a:t>
            </a:r>
            <a:r>
              <a:rPr lang="en-US" sz="2400" b="1" kern="0" dirty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Novel Agents</a:t>
            </a:r>
          </a:p>
        </p:txBody>
      </p:sp>
    </p:spTree>
    <p:extLst>
      <p:ext uri="{BB962C8B-B14F-4D97-AF65-F5344CB8AC3E}">
        <p14:creationId xmlns:p14="http://schemas.microsoft.com/office/powerpoint/2010/main" val="3748679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198950-278E-3D20-D209-53918C874F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C1AAF16-09CB-F172-89F2-0BE0C9CA8808}"/>
              </a:ext>
            </a:extLst>
          </p:cNvPr>
          <p:cNvSpPr txBox="1"/>
          <p:nvPr/>
        </p:nvSpPr>
        <p:spPr>
          <a:xfrm>
            <a:off x="0" y="288032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SCO 2025 Oral Session</a:t>
            </a:r>
          </a:p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June 3, 202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4BE748-B36B-60C7-F449-9EA829505D50}"/>
              </a:ext>
            </a:extLst>
          </p:cNvPr>
          <p:cNvSpPr txBox="1"/>
          <p:nvPr/>
        </p:nvSpPr>
        <p:spPr>
          <a:xfrm>
            <a:off x="645425" y="1206972"/>
            <a:ext cx="10585176" cy="4991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9:45 AM CDT Abstract 7500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RD-driven strategy following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saKRD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induction in transplant-eligible NDMM: Primary endpoints of the phase 3 MIDAS trial.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urore Perrot, MD, PhD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Aptos" panose="020B0004020202020204" pitchFamily="34" charset="0"/>
              <a:cs typeface="Calibri" panose="020F0502020204030204" pitchFamily="34" charset="0"/>
            </a:endParaRP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9:57 AM CDT Abstract 7501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Subcutaneous daratumumab (Dara) + bortezomib/lenalidomide/dexamethasone (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VRd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) with Dara + lenalidomide (DR) maintenance in transplant-eligible (TE) patients with newly diagnosed multiple myeloma (NDMM): Analysis of sustained minimal residual disease negativity in the phase 3 PERSEUS trial.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hilippe Moreau, MD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Aptos" panose="020B0004020202020204" pitchFamily="34" charset="0"/>
              <a:cs typeface="Calibri" panose="020F0502020204030204" pitchFamily="34" charset="0"/>
            </a:endParaRP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Calibri" panose="020F0502020204030204" pitchFamily="34" charset="0"/>
              </a:rPr>
              <a:t>10:09 AM CDT Abstract 7502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Calibri" panose="020F0502020204030204" pitchFamily="34" charset="0"/>
              </a:rPr>
              <a:t>Sustained MRD negativity in patients with newly diagnosed multiple myeloma treated with carfilzomib-lenalidomide-dexamethasone with or without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Calibri" panose="020F0502020204030204" pitchFamily="34" charset="0"/>
              </a:rPr>
              <a:t>isatuximab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Calibri" panose="020F0502020204030204" pitchFamily="34" charset="0"/>
              </a:rPr>
              <a:t> (phase III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Calibri" panose="020F0502020204030204" pitchFamily="34" charset="0"/>
              </a:rPr>
              <a:t>IsKia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Calibri" panose="020F0502020204030204" pitchFamily="34" charset="0"/>
              </a:rPr>
              <a:t> trial).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Calibri" panose="020F0502020204030204" pitchFamily="34" charset="0"/>
              </a:rPr>
              <a:t>Francesca Gay, MD, Ph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19236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6C4D21-288F-5E70-68BD-E53164EFB5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DA9A74F-3007-6290-DCEF-83B259929ACE}"/>
              </a:ext>
            </a:extLst>
          </p:cNvPr>
          <p:cNvSpPr txBox="1"/>
          <p:nvPr/>
        </p:nvSpPr>
        <p:spPr>
          <a:xfrm>
            <a:off x="0" y="288032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SCO 2025 Oral Session</a:t>
            </a:r>
          </a:p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June 3, 202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9A3942-95A1-A0C8-A831-182B74B8303C}"/>
              </a:ext>
            </a:extLst>
          </p:cNvPr>
          <p:cNvSpPr txBox="1"/>
          <p:nvPr/>
        </p:nvSpPr>
        <p:spPr>
          <a:xfrm>
            <a:off x="645425" y="1162905"/>
            <a:ext cx="10585176" cy="4974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10:21 AM CDT Abstract 7503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Randomized, multi-center study of carfilzomib, lenalidomide, and dexamethasone (</a:t>
            </a:r>
            <a:r>
              <a:rPr kumimoji="0" lang="en-US" sz="1800" b="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KRd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) with or without daratumumab (D) in patients with newly diagnosed multiple myeloma (NDMM): The ADVANCE clinical trial.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Carl Ola Landgren, MD, PhD 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10:57 AM CDT Abstract 7504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Elranatamab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 in combination with daratumumab and lenalidomide (EDR) in patients with newly diagnosed multiple myeloma (NDMM) not eligible for transplant: Initial results from MagnetisMM-6 part 1.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Hang Quach, MD, FRACP, FRCPA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11:09 AM CDT Abstract 7505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First-in-human study of JNJ-79635322 (JNJ-5322), a novel, next-generation </a:t>
            </a:r>
            <a:r>
              <a:rPr kumimoji="0" lang="en-US" sz="1800" b="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trispecific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 antibody (</a:t>
            </a:r>
            <a:r>
              <a:rPr kumimoji="0" lang="en-US" sz="1800" b="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TsAb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), in patients (pts) with relapsed/refractory multiple myeloma (RRMM): Initial phase 1 results.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Niels WCJ van de Donk, MD, Ph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58199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B42F9D-2B85-C35D-CB2C-4225F71B00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57D5CEF-EB13-F914-9DDD-0C16316ABEF2}"/>
              </a:ext>
            </a:extLst>
          </p:cNvPr>
          <p:cNvSpPr txBox="1"/>
          <p:nvPr/>
        </p:nvSpPr>
        <p:spPr>
          <a:xfrm>
            <a:off x="0" y="288032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SCO 2025 Oral Session</a:t>
            </a:r>
          </a:p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June 3, 202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2660432-9078-A5B0-DB6D-D5EC93316558}"/>
              </a:ext>
            </a:extLst>
          </p:cNvPr>
          <p:cNvSpPr txBox="1"/>
          <p:nvPr/>
        </p:nvSpPr>
        <p:spPr>
          <a:xfrm>
            <a:off x="645424" y="1162905"/>
            <a:ext cx="10995191" cy="4974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11:21 AM CDT Abstract 7506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Isatuximab</a:t>
            </a:r>
            <a:r>
              <a:rPr kumimoji="0" lang="en-US" sz="180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 (Isa) subcutaneous (SC) via an on-body delivery system (OBDS) vs Isa intravenous (IV), plus pomalidomide and dexamethasone (Pd) in relapsed/refractory multiple myeloma (RRMM): Results of the randomized, non-inferiority, phase 3 IRAKLIA study.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Xavier P </a:t>
            </a:r>
            <a:r>
              <a:rPr kumimoji="0" lang="en-US" sz="180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Leleu</a:t>
            </a:r>
            <a:r>
              <a:rPr kumimoji="0" lang="en-US" sz="180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, MD, PhD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11:57 AM CDT Abstract 7507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Long-term (≥5 year) remission and survival after treatment with </a:t>
            </a:r>
            <a:r>
              <a:rPr kumimoji="0" lang="en-US" sz="1800" b="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ciltacabtagene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1800" b="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autoleucel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 (</a:t>
            </a:r>
            <a:r>
              <a:rPr kumimoji="0" lang="en-US" sz="1800" b="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cilta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-cel) in CARTITUDE-1 patients (pts) with relapsed/refractory multiple myeloma (RRMM).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Peter M Voorhees, MD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12:09 PM CDT Abstract 7508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Safety and efficacy data from NEXICART-2, the first US trial of CAR-T in R/R light chain (AL) amyloidosis, NXC-201.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Heather Jolie Landau, M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93716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C7E1D3-C592-2C97-A533-E4BE16A6D7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1F964DB-7259-28AF-8FB1-BCB7178EFD71}"/>
              </a:ext>
            </a:extLst>
          </p:cNvPr>
          <p:cNvSpPr txBox="1"/>
          <p:nvPr/>
        </p:nvSpPr>
        <p:spPr>
          <a:xfrm>
            <a:off x="0" y="288032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SCO 2025 Rapid Oral Session</a:t>
            </a:r>
          </a:p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June 2, 202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2F1E664-33B5-63C0-BCA2-5AB3EA7FD5D7}"/>
              </a:ext>
            </a:extLst>
          </p:cNvPr>
          <p:cNvSpPr txBox="1"/>
          <p:nvPr/>
        </p:nvSpPr>
        <p:spPr>
          <a:xfrm>
            <a:off x="645425" y="1162905"/>
            <a:ext cx="10585176" cy="4974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8:00 AM CDT Abstract 7509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Isatuximab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, carfilzomib, lenalidomide, and dexamethasone (Isa-</a:t>
            </a:r>
            <a:r>
              <a:rPr kumimoji="0" lang="en-US" sz="1800" b="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KRd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) for high-risk (HR) newly diagnosed multiple myeloma (NDMM): First-time report of the full cohort of transplant-eligible (TE) patients in the GMMG-CONCEPT trial.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Lisa B Leypoldt, MD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8:06 AM CDT Abstract 7510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Linvoseltamab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 (LINVO) + bortezomib (BTZ) in patients (pts) with relapsed/refractory multiple myeloma (RRMM): First results from the LINKER-MM2 trial.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Xavier P Leleu, MD, PhD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8:12 AM CDT Abstract 7511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Heterogeneity in the expression of GPRC5D between patients with multiple myeloma.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Harsh Parmar, M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9488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FB9C79-7700-EE56-B0BC-6FA2C1453A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899F8F9-7A09-4AED-44B4-452402FBB96A}"/>
              </a:ext>
            </a:extLst>
          </p:cNvPr>
          <p:cNvSpPr txBox="1"/>
          <p:nvPr/>
        </p:nvSpPr>
        <p:spPr>
          <a:xfrm>
            <a:off x="0" y="288032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SCO 2025 Rapid Oral Session</a:t>
            </a:r>
          </a:p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June 2, 202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80A480-AF9C-507A-6DD1-DA61E0B6B2D8}"/>
              </a:ext>
            </a:extLst>
          </p:cNvPr>
          <p:cNvSpPr txBox="1"/>
          <p:nvPr/>
        </p:nvSpPr>
        <p:spPr>
          <a:xfrm>
            <a:off x="645425" y="1162905"/>
            <a:ext cx="10585176" cy="4974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8:30 AM CDT Abstract 7512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Belantamab</a:t>
            </a:r>
            <a:r>
              <a:rPr kumimoji="0" lang="en-US" sz="180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180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mafodotin</a:t>
            </a:r>
            <a:r>
              <a:rPr kumimoji="0" lang="en-US" sz="180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 plus lenalidomide/dexamethasone in newly diagnosed intermediate-fit &amp; frail multiple myeloma patients: Long-term efficacy and safety from the phase 1/2 BELARD clinical trial.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Evangelos </a:t>
            </a:r>
            <a:r>
              <a:rPr kumimoji="0" lang="en-US" sz="180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Terpos</a:t>
            </a:r>
            <a:r>
              <a:rPr kumimoji="0" lang="en-US" sz="180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, MD, PhD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8:36 AM CDT Abstract 7513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Linvoseltamab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 (LINVO) + carfilzomib (CFZ) in patients (pts) with relapsed/refractory multiple myeloma (RRMM): Initial results from the LINKER-MM2 trial.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Salomon Manier, MD, PhD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8:42 AM CDT Abstract 7514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Phase 1, first-in-human study of ISB 2001: A BCMAxCD38xCD3-targeting </a:t>
            </a:r>
            <a:r>
              <a:rPr kumimoji="0" lang="en-US" sz="180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trispecific</a:t>
            </a:r>
            <a:r>
              <a:rPr kumimoji="0" lang="en-US" sz="180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 antibody for patients with relapsed/refractory multiple myeloma (RRMM) — Dose escalation (DE) results.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Hang Quach, MD, FRACP, FRCP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5761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9B1AE4D-79FA-2448-68B6-C23CB12C51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3EC04D8-0609-56B4-33DD-6504ADC55AEA}"/>
              </a:ext>
            </a:extLst>
          </p:cNvPr>
          <p:cNvSpPr txBox="1"/>
          <p:nvPr/>
        </p:nvSpPr>
        <p:spPr>
          <a:xfrm>
            <a:off x="0" y="199896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SCO 2025 Rapid Oral Session</a:t>
            </a:r>
          </a:p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June 2, 202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0CEE2B6-BCAC-7FCD-9C31-5CDA6916A580}"/>
              </a:ext>
            </a:extLst>
          </p:cNvPr>
          <p:cNvSpPr txBox="1"/>
          <p:nvPr/>
        </p:nvSpPr>
        <p:spPr>
          <a:xfrm>
            <a:off x="656442" y="975617"/>
            <a:ext cx="10120078" cy="56115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9:00 AM CDT Abstract 7515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Minimal residual disease (MRD) negativity (neg) in patients (pts) with relapsed or refractory multiple myeloma (RRMM) treated with </a:t>
            </a:r>
            <a:r>
              <a:rPr kumimoji="0" lang="en-US" sz="180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belantamab</a:t>
            </a:r>
            <a:r>
              <a:rPr kumimoji="0" lang="en-US" sz="180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180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mafodotin</a:t>
            </a:r>
            <a:r>
              <a:rPr kumimoji="0" lang="en-US" sz="180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 plus pomalidomide and dexamethasone (</a:t>
            </a:r>
            <a:r>
              <a:rPr kumimoji="0" lang="en-US" sz="180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BPd</a:t>
            </a:r>
            <a:r>
              <a:rPr kumimoji="0" lang="en-US" sz="180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) vs pomalidomide, bortezomib, and dexamethasone (</a:t>
            </a:r>
            <a:r>
              <a:rPr kumimoji="0" lang="en-US" sz="180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PVd</a:t>
            </a:r>
            <a:r>
              <a:rPr kumimoji="0" lang="en-US" sz="180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): Analysis from the DREAMM-8 trial.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Suzanne Trudel, MD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9:06 AM CDT Abstract 7516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Daratumumab plus bortezomib, lenalidomide, and dexamethasone (</a:t>
            </a:r>
            <a:r>
              <a:rPr kumimoji="0" lang="en-US" sz="1800" b="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DVRd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) in patients with newly diagnosed multiple myeloma (NDMM): Subgroup analysis of transplant-ineligible (TIE) patients in the phase 3 CEPHEUS study.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Saad Z Usmani, MD, MBA, FRCP, FASCO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9:12 AM CDT Abstract 7517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Isatuximab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, bortezomib, lenalidomide, and dexamethasone (Isa-</a:t>
            </a:r>
            <a:r>
              <a:rPr kumimoji="0" lang="en-US" sz="1800" b="0" i="0" u="none" strike="noStrike" kern="1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VRd</a:t>
            </a: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) in newly diagnosed multiple myeloma (NDMM): Outcomes in patients with 1q21+ status in the phase 3 IMROZ study.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Aptos" panose="020B0004020202020204" pitchFamily="34" charset="0"/>
                <a:cs typeface="Times New Roman" panose="02020603050405020304" pitchFamily="18" charset="0"/>
              </a:rPr>
              <a:t>Robert Orlowski, MD, Ph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57314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87EEC6-2AD0-B74B-B10D-32D4E844B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20184"/>
            <a:ext cx="10358967" cy="1143000"/>
          </a:xfrm>
        </p:spPr>
        <p:txBody>
          <a:bodyPr/>
          <a:lstStyle/>
          <a:p>
            <a:r>
              <a:rPr lang="en-US" dirty="0"/>
              <a:t>Faculty</a:t>
            </a:r>
          </a:p>
        </p:txBody>
      </p:sp>
      <p:sp>
        <p:nvSpPr>
          <p:cNvPr id="13" name="Text Box 7">
            <a:extLst>
              <a:ext uri="{FF2B5EF4-FFF2-40B4-BE49-F238E27FC236}">
                <a16:creationId xmlns:a16="http://schemas.microsoft.com/office/drawing/2014/main" id="{2BF03784-2B37-1341-BDAF-39A4D74AEF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91542" y="1412776"/>
            <a:ext cx="518457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8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Meletio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-Athanasios (Thanos) C Dimopoulos, MD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Professor and Chairman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Plasma Cell Dyscrasias Unit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Section of Hematology and Medical Oncology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Department of Clinical Therapeutics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School of Medicine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National and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Kapodistria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 University of Athens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Alexandra Hospital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Athens, Greec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4FFC87A-5750-8C4E-95CF-DCA3500FD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376" y="1412776"/>
            <a:ext cx="1443490" cy="1443490"/>
          </a:xfrm>
          <a:prstGeom prst="rect">
            <a:avLst/>
          </a:prstGeom>
        </p:spPr>
      </p:pic>
      <p:sp>
        <p:nvSpPr>
          <p:cNvPr id="11" name="Text Box 7">
            <a:extLst>
              <a:ext uri="{FF2B5EF4-FFF2-40B4-BE49-F238E27FC236}">
                <a16:creationId xmlns:a16="http://schemas.microsoft.com/office/drawing/2014/main" id="{13693E70-1647-5C4F-BD36-3484B2ADB0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46979" y="1412776"/>
            <a:ext cx="2252531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8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ODERATOR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Neil Love, MD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Research To Practice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Miami, Florid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9CADB06-74CE-9049-9CB2-25E56A6D07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34811" y="1412776"/>
            <a:ext cx="1443490" cy="1443490"/>
          </a:xfrm>
          <a:prstGeom prst="rect">
            <a:avLst/>
          </a:prstGeom>
        </p:spPr>
      </p:pic>
      <p:sp>
        <p:nvSpPr>
          <p:cNvPr id="5" name="Text Box 7">
            <a:extLst>
              <a:ext uri="{FF2B5EF4-FFF2-40B4-BE49-F238E27FC236}">
                <a16:creationId xmlns:a16="http://schemas.microsoft.com/office/drawing/2014/main" id="{71965E37-3B17-CF2D-B1CA-57B44065B4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91543" y="4158209"/>
            <a:ext cx="498162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8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Robert Z Orlowski, MD, PhD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Florence Maude Thomas Cancer Research Professor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Department of Lymphoma and Myeloma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Professor, Department of Experimental Therapeutics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Vice Chair, Myeloma Translational Research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Division of Cancer Medicine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The University of Texas MD Anderson Cancer Center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Houston, Texa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90EFE1D-0498-AC88-C190-336AC8BEFD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376" y="4158209"/>
            <a:ext cx="1443490" cy="1443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561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BEB574-FFBA-8743-738F-8241F8ED6E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3C93B5E-72D0-8E75-19A6-7ADEB1393058}"/>
              </a:ext>
            </a:extLst>
          </p:cNvPr>
          <p:cNvSpPr/>
          <p:nvPr/>
        </p:nvSpPr>
        <p:spPr bwMode="auto">
          <a:xfrm>
            <a:off x="407368" y="2564904"/>
            <a:ext cx="11449272" cy="576064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E1D6B5-146A-6438-C9A1-741DDBEF5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51" y="332656"/>
            <a:ext cx="1015269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br>
              <a:rPr lang="en-US" dirty="0"/>
            </a:br>
            <a:br>
              <a:rPr lang="en-US" sz="1200" dirty="0"/>
            </a:br>
            <a:r>
              <a:rPr lang="en-US" dirty="0"/>
              <a:t>Year in Review: Management of Multiple Myeloma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387BC8-1944-ED5E-5A95-59E138A0B8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9533" y="1988840"/>
            <a:ext cx="9774980" cy="2736304"/>
          </a:xfrm>
        </p:spPr>
        <p:txBody>
          <a:bodyPr/>
          <a:lstStyle/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CO 2025 Preview</a:t>
            </a:r>
            <a:endParaRPr lang="en-US" sz="2400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1: Anti-CD38 Antibodies</a:t>
            </a:r>
            <a:endParaRPr lang="en-US" sz="2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2: </a:t>
            </a:r>
            <a:r>
              <a:rPr lang="en-US" sz="2400" b="1" kern="0" dirty="0" err="1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Belantamab</a:t>
            </a:r>
            <a:r>
              <a:rPr lang="en-US" sz="2400" b="1" kern="0" dirty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1" kern="0" dirty="0" err="1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Mafodotin</a:t>
            </a:r>
            <a:endParaRPr lang="en-US" sz="2400" b="1" kern="0" dirty="0">
              <a:solidFill>
                <a:srgbClr val="212121"/>
              </a:solidFill>
              <a:effectLst/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3: </a:t>
            </a:r>
            <a:r>
              <a:rPr lang="en-US" sz="2400" b="1" kern="0" dirty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AR T-Cell Therapy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4: </a:t>
            </a:r>
            <a:r>
              <a:rPr lang="en-US" sz="2400" b="1" kern="0" dirty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Bispecific Antibodies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5: </a:t>
            </a:r>
            <a:r>
              <a:rPr lang="en-US" sz="240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Other</a:t>
            </a:r>
            <a:r>
              <a:rPr lang="en-US" sz="2400" dirty="0">
                <a:solidFill>
                  <a:srgbClr val="3233FF"/>
                </a:solidFill>
              </a:rPr>
              <a:t> </a:t>
            </a:r>
            <a:r>
              <a:rPr lang="en-US" sz="2400" b="1" kern="0" dirty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Novel Agents</a:t>
            </a:r>
          </a:p>
        </p:txBody>
      </p:sp>
    </p:spTree>
    <p:extLst>
      <p:ext uri="{BB962C8B-B14F-4D97-AF65-F5344CB8AC3E}">
        <p14:creationId xmlns:p14="http://schemas.microsoft.com/office/powerpoint/2010/main" val="293734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814F68-9664-1508-7C36-963C5D53E0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0"/>
            <a:ext cx="9127996" cy="1002268"/>
          </a:xfrm>
        </p:spPr>
        <p:txBody>
          <a:bodyPr/>
          <a:lstStyle/>
          <a:p>
            <a:r>
              <a:rPr lang="en-US" dirty="0"/>
              <a:t>Dara in Smoldering: Design &amp; Outcomes</a:t>
            </a:r>
          </a:p>
        </p:txBody>
      </p:sp>
      <p:pic>
        <p:nvPicPr>
          <p:cNvPr id="4" name="Picture 0" descr="MDACC_PMS_TC_tag.eps">
            <a:extLst>
              <a:ext uri="{FF2B5EF4-FFF2-40B4-BE49-F238E27FC236}">
                <a16:creationId xmlns:a16="http://schemas.microsoft.com/office/drawing/2014/main" id="{14CAE89B-E391-3124-0C39-5096D12AFD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600" y="152400"/>
            <a:ext cx="1123950" cy="5334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685356D-EA94-BEA0-B534-36F05262F216}"/>
              </a:ext>
            </a:extLst>
          </p:cNvPr>
          <p:cNvSpPr txBox="1"/>
          <p:nvPr/>
        </p:nvSpPr>
        <p:spPr>
          <a:xfrm>
            <a:off x="3791744" y="6488668"/>
            <a:ext cx="91279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imes"/>
                <a:ea typeface="ＭＳ Ｐゴシック" panose="020B0600070205080204" pitchFamily="34" charset="-128"/>
                <a:cs typeface="Arial" panose="020B0604020202020204" pitchFamily="34" charset="0"/>
              </a:rPr>
              <a:t>Dimopoulos MA et al. N Engl J Med. 2024 Dec 9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0BC0CC6-5605-3A94-0503-F0A81955FB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7200" y="1371600"/>
            <a:ext cx="5510439" cy="460438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455A14C-4566-1FEE-8FE1-FAEED90E697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464291" y="877592"/>
            <a:ext cx="4722803" cy="561107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D8DAB4F-0469-0D3E-50BE-4DD157D71D55}"/>
              </a:ext>
            </a:extLst>
          </p:cNvPr>
          <p:cNvSpPr txBox="1"/>
          <p:nvPr/>
        </p:nvSpPr>
        <p:spPr>
          <a:xfrm>
            <a:off x="144966" y="6490010"/>
            <a:ext cx="35022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Robert Z Orlowski, MD, PhD</a:t>
            </a:r>
          </a:p>
        </p:txBody>
      </p:sp>
    </p:spTree>
    <p:extLst>
      <p:ext uri="{BB962C8B-B14F-4D97-AF65-F5344CB8AC3E}">
        <p14:creationId xmlns:p14="http://schemas.microsoft.com/office/powerpoint/2010/main" val="18347869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15C574-E94B-AA28-7558-E3B472A665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97AD2D-727D-A469-3E16-D3F0381FF5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3464"/>
            <a:ext cx="9127996" cy="1143000"/>
          </a:xfrm>
        </p:spPr>
        <p:txBody>
          <a:bodyPr/>
          <a:lstStyle/>
          <a:p>
            <a:r>
              <a:rPr lang="en-US" dirty="0"/>
              <a:t>Value of MRD 1 Year Post-ASCT</a:t>
            </a:r>
            <a:endParaRPr lang="en-US" baseline="30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0B8204-8870-C93F-990C-637199DFE6DE}"/>
              </a:ext>
            </a:extLst>
          </p:cNvPr>
          <p:cNvSpPr txBox="1"/>
          <p:nvPr/>
        </p:nvSpPr>
        <p:spPr>
          <a:xfrm>
            <a:off x="2783632" y="6470833"/>
            <a:ext cx="91279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imes"/>
                <a:ea typeface="ＭＳ Ｐゴシック" panose="020B0600070205080204" pitchFamily="34" charset="-128"/>
                <a:cs typeface="Arial" panose="020B0604020202020204" pitchFamily="34" charset="0"/>
              </a:rPr>
              <a:t>Pasquini MC et al.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imes"/>
                <a:ea typeface="ＭＳ Ｐゴシック" panose="020B0600070205080204" pitchFamily="34" charset="-128"/>
                <a:cs typeface="+mn-cs"/>
              </a:rPr>
              <a:t>J Clin Oncol. 2024 Aug 10;42(23):2757-2768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Times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DCA24BD-AEF5-0A32-C032-DBE514DEA7D2}"/>
              </a:ext>
            </a:extLst>
          </p:cNvPr>
          <p:cNvGrpSpPr/>
          <p:nvPr/>
        </p:nvGrpSpPr>
        <p:grpSpPr>
          <a:xfrm>
            <a:off x="2535752" y="1017374"/>
            <a:ext cx="7120495" cy="5231026"/>
            <a:chOff x="2735198" y="1219200"/>
            <a:chExt cx="6705600" cy="4926226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049DDC9A-50D8-5851-009E-2FA4D47CE6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735198" y="1219200"/>
              <a:ext cx="6705600" cy="4926226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7B817F0-FE6A-D691-974A-A88C0EAB3AB6}"/>
                </a:ext>
              </a:extLst>
            </p:cNvPr>
            <p:cNvSpPr txBox="1"/>
            <p:nvPr/>
          </p:nvSpPr>
          <p:spPr>
            <a:xfrm>
              <a:off x="4419601" y="2362200"/>
              <a:ext cx="396134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" pitchFamily="-84" charset="0"/>
                  <a:ea typeface="ＭＳ Ｐゴシック" panose="020B0600070205080204" pitchFamily="34" charset="-128"/>
                  <a:cs typeface="+mn-cs"/>
                </a:rPr>
                <a:t>PFS                                                     OS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BC29404C-B216-2DDE-73ED-055803E7D033}"/>
                </a:ext>
              </a:extLst>
            </p:cNvPr>
            <p:cNvSpPr txBox="1"/>
            <p:nvPr/>
          </p:nvSpPr>
          <p:spPr>
            <a:xfrm>
              <a:off x="4419601" y="4876800"/>
              <a:ext cx="396134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" pitchFamily="-84" charset="0"/>
                  <a:ea typeface="ＭＳ Ｐゴシック" panose="020B0600070205080204" pitchFamily="34" charset="-128"/>
                  <a:cs typeface="+mn-cs"/>
                </a:rPr>
                <a:t>PFS                                                     OS</a:t>
              </a:r>
            </a:p>
          </p:txBody>
        </p:sp>
      </p:grpSp>
      <p:pic>
        <p:nvPicPr>
          <p:cNvPr id="6" name="Picture 0" descr="MDACC_PMS_TC_tag.eps">
            <a:extLst>
              <a:ext uri="{FF2B5EF4-FFF2-40B4-BE49-F238E27FC236}">
                <a16:creationId xmlns:a16="http://schemas.microsoft.com/office/drawing/2014/main" id="{A9014E12-9AD7-9514-4718-205CFDB484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600" y="152400"/>
            <a:ext cx="1123950" cy="5334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1DE2730-7501-337F-A953-BBE8D34D3B07}"/>
              </a:ext>
            </a:extLst>
          </p:cNvPr>
          <p:cNvSpPr txBox="1"/>
          <p:nvPr/>
        </p:nvSpPr>
        <p:spPr>
          <a:xfrm>
            <a:off x="144966" y="6490010"/>
            <a:ext cx="35022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Robert Z Orlowski, MD, PhD</a:t>
            </a:r>
          </a:p>
        </p:txBody>
      </p:sp>
    </p:spTree>
    <p:extLst>
      <p:ext uri="{BB962C8B-B14F-4D97-AF65-F5344CB8AC3E}">
        <p14:creationId xmlns:p14="http://schemas.microsoft.com/office/powerpoint/2010/main" val="24673095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49AFD5-1107-2E3E-A7A5-F27E60BF3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303633"/>
            <a:ext cx="11353800" cy="662782"/>
          </a:xfrm>
        </p:spPr>
        <p:txBody>
          <a:bodyPr>
            <a:noAutofit/>
          </a:bodyPr>
          <a:lstStyle/>
          <a:p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Anti-CD38 Antibody First-Line Indicatio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6AADF3A-0F7B-9092-3478-8421E4EA2A39}"/>
              </a:ext>
            </a:extLst>
          </p:cNvPr>
          <p:cNvSpPr txBox="1"/>
          <p:nvPr/>
        </p:nvSpPr>
        <p:spPr>
          <a:xfrm>
            <a:off x="-1" y="6492875"/>
            <a:ext cx="10239153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Daratumumab package insert, May 2025. Isatuximab package insert</a:t>
            </a:r>
            <a:r>
              <a:rPr lang="en-US" sz="1500" b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ay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2025.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74187E3-3FC6-EB22-195D-7275ED935D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7717209"/>
              </p:ext>
            </p:extLst>
          </p:nvPr>
        </p:nvGraphicFramePr>
        <p:xfrm>
          <a:off x="884621" y="1587674"/>
          <a:ext cx="10422758" cy="371353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211379">
                  <a:extLst>
                    <a:ext uri="{9D8B030D-6E8A-4147-A177-3AD203B41FA5}">
                      <a16:colId xmlns:a16="http://schemas.microsoft.com/office/drawing/2014/main" val="762228979"/>
                    </a:ext>
                  </a:extLst>
                </a:gridCol>
                <a:gridCol w="5211379">
                  <a:extLst>
                    <a:ext uri="{9D8B030D-6E8A-4147-A177-3AD203B41FA5}">
                      <a16:colId xmlns:a16="http://schemas.microsoft.com/office/drawing/2014/main" val="91423617"/>
                    </a:ext>
                  </a:extLst>
                </a:gridCol>
              </a:tblGrid>
              <a:tr h="406429">
                <a:tc>
                  <a:txBody>
                    <a:bodyPr/>
                    <a:lstStyle/>
                    <a:p>
                      <a:r>
                        <a:rPr lang="en-US" sz="1800" dirty="0"/>
                        <a:t>IV Daratumumab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satuximab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0923731"/>
                  </a:ext>
                </a:extLst>
              </a:tr>
              <a:tr h="1302799">
                <a:tc>
                  <a:txBody>
                    <a:bodyPr/>
                    <a:lstStyle/>
                    <a:p>
                      <a:r>
                        <a:rPr lang="en-US" sz="1800" dirty="0"/>
                        <a:t>In combination with </a:t>
                      </a:r>
                      <a:r>
                        <a:rPr lang="en-US" sz="1800" u="sng" dirty="0"/>
                        <a:t>lenalidomide and dexamethasone</a:t>
                      </a:r>
                      <a:r>
                        <a:rPr lang="en-US" sz="1800" dirty="0"/>
                        <a:t> for newly diagnosed patients who are </a:t>
                      </a:r>
                      <a:r>
                        <a:rPr lang="en-US" sz="1800" dirty="0">
                          <a:solidFill>
                            <a:srgbClr val="FF0000"/>
                          </a:solidFill>
                        </a:rPr>
                        <a:t>ineligible</a:t>
                      </a:r>
                      <a:r>
                        <a:rPr lang="en-US" sz="1800" dirty="0"/>
                        <a:t> for autologous stem cell transpla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In combination with </a:t>
                      </a:r>
                      <a:r>
                        <a:rPr lang="en-US" sz="1800" u="sng" dirty="0"/>
                        <a:t>bortezomib, lenalidomide and dexamethasone</a:t>
                      </a:r>
                      <a:r>
                        <a:rPr lang="en-US" sz="1800" dirty="0"/>
                        <a:t> for adult patients with newly diagnosed multiple myeloma who are </a:t>
                      </a:r>
                      <a:r>
                        <a:rPr lang="en-US" sz="1800" dirty="0">
                          <a:solidFill>
                            <a:srgbClr val="FF0000"/>
                          </a:solidFill>
                        </a:rPr>
                        <a:t>not eligible</a:t>
                      </a:r>
                      <a:r>
                        <a:rPr lang="en-US" sz="1800" dirty="0"/>
                        <a:t> for autologous stem cell transplant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208865"/>
                  </a:ext>
                </a:extLst>
              </a:tr>
              <a:tr h="1002153">
                <a:tc>
                  <a:txBody>
                    <a:bodyPr/>
                    <a:lstStyle/>
                    <a:p>
                      <a:r>
                        <a:rPr lang="en-US" sz="1800" dirty="0"/>
                        <a:t>In combination with </a:t>
                      </a:r>
                      <a:r>
                        <a:rPr lang="en-US" sz="1800" u="sng" dirty="0"/>
                        <a:t>bortezomib, melphalan and prednisone</a:t>
                      </a:r>
                      <a:r>
                        <a:rPr lang="en-US" sz="1800" dirty="0"/>
                        <a:t> for newly diagnosed patients who are </a:t>
                      </a:r>
                      <a:r>
                        <a:rPr lang="en-US" sz="1800" dirty="0">
                          <a:solidFill>
                            <a:srgbClr val="FF0000"/>
                          </a:solidFill>
                        </a:rPr>
                        <a:t>ineligible</a:t>
                      </a:r>
                      <a:r>
                        <a:rPr lang="en-US" sz="1800" dirty="0"/>
                        <a:t> for autologous stem cell transpla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4840036"/>
                  </a:ext>
                </a:extLst>
              </a:tr>
              <a:tr h="1002153">
                <a:tc>
                  <a:txBody>
                    <a:bodyPr/>
                    <a:lstStyle/>
                    <a:p>
                      <a:r>
                        <a:rPr lang="en-US" sz="1800" dirty="0"/>
                        <a:t>In combination with </a:t>
                      </a:r>
                      <a:r>
                        <a:rPr lang="en-US" sz="1800" u="sng" dirty="0"/>
                        <a:t>bortezomib, thalidomide, and dexamethasone</a:t>
                      </a:r>
                      <a:r>
                        <a:rPr lang="en-US" sz="1800" dirty="0"/>
                        <a:t> for newly diagnosed patients who are </a:t>
                      </a:r>
                      <a:r>
                        <a:rPr lang="en-US" sz="1800" dirty="0">
                          <a:solidFill>
                            <a:srgbClr val="00B050"/>
                          </a:solidFill>
                        </a:rPr>
                        <a:t>eligible</a:t>
                      </a:r>
                      <a:r>
                        <a:rPr lang="en-US" sz="1800" dirty="0"/>
                        <a:t> for autologous stem cell transpla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E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E4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06433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2290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A65770-54C9-1AD8-6550-2BC3178871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F710E7-B81D-85F5-7B01-3793FC3FC6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042" y="331079"/>
            <a:ext cx="10987753" cy="1141412"/>
          </a:xfrm>
        </p:spPr>
        <p:txBody>
          <a:bodyPr/>
          <a:lstStyle/>
          <a:p>
            <a:pPr algn="l"/>
            <a:r>
              <a:rPr lang="en-US" sz="3000" dirty="0"/>
              <a:t>New </a:t>
            </a:r>
            <a:r>
              <a:rPr lang="en-US" sz="3000" dirty="0" err="1"/>
              <a:t>Isatuximab</a:t>
            </a:r>
            <a:r>
              <a:rPr lang="en-US" sz="3000" dirty="0"/>
              <a:t> Subcutaneous Formulation Met Coprimary Endpoints in the IRAKLIA Phase III Study in Multiple Myeloma</a:t>
            </a:r>
            <a:br>
              <a:rPr lang="en-US" dirty="0"/>
            </a:br>
            <a:r>
              <a:rPr lang="en-US" sz="2400" dirty="0"/>
              <a:t>Press Release: January 9, 2025</a:t>
            </a:r>
            <a:endParaRPr lang="en-US" sz="2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8E40DD-6DCA-E83E-CA2F-A82616DE64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802" y="1676400"/>
            <a:ext cx="11342395" cy="4316412"/>
          </a:xfrm>
        </p:spPr>
        <p:txBody>
          <a:bodyPr/>
          <a:lstStyle/>
          <a:p>
            <a:pPr marL="74789" indent="0">
              <a:buNone/>
            </a:pPr>
            <a:r>
              <a:rPr lang="en-US" sz="2000" b="0" dirty="0">
                <a:latin typeface="Calibri" panose="020F0502020204030204" pitchFamily="34" charset="0"/>
                <a:cs typeface="Calibri" panose="020F0502020204030204" pitchFamily="34" charset="0"/>
              </a:rPr>
              <a:t>“Results from the investigational, randomized, open-label IRAKLIA phase 3 study demonstrated that </a:t>
            </a:r>
            <a:r>
              <a:rPr lang="en-US" sz="2000" b="0" dirty="0" err="1">
                <a:latin typeface="Calibri" panose="020F0502020204030204" pitchFamily="34" charset="0"/>
                <a:cs typeface="Calibri" panose="020F0502020204030204" pitchFamily="34" charset="0"/>
              </a:rPr>
              <a:t>isatuximab</a:t>
            </a:r>
            <a:r>
              <a:rPr lang="en-US" sz="2000" b="0" dirty="0">
                <a:latin typeface="Calibri" panose="020F0502020204030204" pitchFamily="34" charset="0"/>
                <a:cs typeface="Calibri" panose="020F0502020204030204" pitchFamily="34" charset="0"/>
              </a:rPr>
              <a:t> administered at a fixed dose subcutaneously (SC) via an on-body delivery system (OBDS) in combination with pomalidomide and dexamethasone (Pd) met its co-primary endpoints of non-inferior objective response rate (ORR) and observed concentration before dosing (C trough) at steady state compared to intravenous (IV) </a:t>
            </a:r>
            <a:r>
              <a:rPr lang="en-US" sz="2000" b="0" dirty="0" err="1">
                <a:latin typeface="Calibri" panose="020F0502020204030204" pitchFamily="34" charset="0"/>
                <a:cs typeface="Calibri" panose="020F0502020204030204" pitchFamily="34" charset="0"/>
              </a:rPr>
              <a:t>isatuximab</a:t>
            </a:r>
            <a:r>
              <a:rPr lang="en-US" sz="2000" b="0" dirty="0">
                <a:latin typeface="Calibri" panose="020F0502020204030204" pitchFamily="34" charset="0"/>
                <a:cs typeface="Calibri" panose="020F0502020204030204" pitchFamily="34" charset="0"/>
              </a:rPr>
              <a:t> administered at a weight-based dose in combination with Pd in patients with relapsed or refractory multiple myeloma (R/R MM). Key secondary endpoints, including very good partial response (VGPR), incidence rate of infusion reactions and C trough at cycle 2 were also achieved. The study is ongoing, and the full results will be presented at a forthcoming medical meeting.</a:t>
            </a:r>
          </a:p>
          <a:p>
            <a:pPr marL="74789" indent="0">
              <a:buNone/>
            </a:pPr>
            <a:r>
              <a:rPr lang="en-US" sz="2000" b="0" dirty="0">
                <a:latin typeface="Calibri" panose="020F0502020204030204" pitchFamily="34" charset="0"/>
                <a:cs typeface="Calibri" panose="020F0502020204030204" pitchFamily="34" charset="0"/>
              </a:rPr>
              <a:t>Additional studies evaluating </a:t>
            </a:r>
            <a:r>
              <a:rPr lang="en-US" sz="2000" b="0" dirty="0" err="1">
                <a:latin typeface="Calibri" panose="020F0502020204030204" pitchFamily="34" charset="0"/>
                <a:cs typeface="Calibri" panose="020F0502020204030204" pitchFamily="34" charset="0"/>
              </a:rPr>
              <a:t>isatuximab</a:t>
            </a:r>
            <a:r>
              <a:rPr lang="en-US" sz="2000" b="0" dirty="0">
                <a:latin typeface="Calibri" panose="020F0502020204030204" pitchFamily="34" charset="0"/>
                <a:cs typeface="Calibri" panose="020F0502020204030204" pitchFamily="34" charset="0"/>
              </a:rPr>
              <a:t> SC formulations across different combinations and lines of therapy are ongoing. The safety and efficacy of </a:t>
            </a:r>
            <a:r>
              <a:rPr lang="en-US" sz="2000" b="0">
                <a:latin typeface="Calibri" panose="020F0502020204030204" pitchFamily="34" charset="0"/>
                <a:cs typeface="Calibri" panose="020F0502020204030204" pitchFamily="34" charset="0"/>
              </a:rPr>
              <a:t>isatuximab</a:t>
            </a:r>
            <a:r>
              <a:rPr lang="en-US" sz="2000" b="0" dirty="0">
                <a:latin typeface="Calibri" panose="020F0502020204030204" pitchFamily="34" charset="0"/>
                <a:cs typeface="Calibri" panose="020F0502020204030204" pitchFamily="34" charset="0"/>
              </a:rPr>
              <a:t> SC [has] not been evaluated by any regulatory authority outside of [the] approved indications. Regulatory submissions in the US and in the EU are planned during the first half of 2025.”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075AFA5-3ACD-6DB3-6B42-A558C81435BD}"/>
              </a:ext>
            </a:extLst>
          </p:cNvPr>
          <p:cNvSpPr txBox="1"/>
          <p:nvPr/>
        </p:nvSpPr>
        <p:spPr>
          <a:xfrm>
            <a:off x="152400" y="6506139"/>
            <a:ext cx="11342395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Arial" panose="020B0604020202020204" pitchFamily="34" charset="0"/>
              </a:rPr>
              <a:t>https://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Arial" panose="020B0604020202020204" pitchFamily="34" charset="0"/>
              </a:rPr>
              <a:t>www.sanofi.com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Arial" panose="020B0604020202020204" pitchFamily="34" charset="0"/>
              </a:rPr>
              <a:t>/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Arial" panose="020B0604020202020204" pitchFamily="34" charset="0"/>
              </a:rPr>
              <a:t>en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Arial" panose="020B0604020202020204" pitchFamily="34" charset="0"/>
              </a:rPr>
              <a:t>/media-room/press-releases/2025/2025-01-09-06-00-00-3006798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4049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03C40B-D83E-1925-E1E7-658BA07F71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48B111-F31C-2FF0-C36E-87B15EBA5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356510"/>
            <a:ext cx="11353800" cy="662782"/>
          </a:xfrm>
        </p:spPr>
        <p:txBody>
          <a:bodyPr>
            <a:noAutofit/>
          </a:bodyPr>
          <a:lstStyle/>
          <a:p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Subcutaneous Isatuximab Administr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57A4FA-5AC6-239F-7BF8-19BFD18F3460}"/>
              </a:ext>
            </a:extLst>
          </p:cNvPr>
          <p:cNvSpPr txBox="1"/>
          <p:nvPr/>
        </p:nvSpPr>
        <p:spPr>
          <a:xfrm>
            <a:off x="-1" y="6492875"/>
            <a:ext cx="10239153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Quach H et al. IMS 2022;Abstract P-306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ED911B8-A5E6-F252-C99B-127BE00607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9100" y="1556792"/>
            <a:ext cx="11382287" cy="4067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616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A1E2249-A50C-18FF-7E1D-16AEA943E84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400" dirty="0"/>
              <a:t>Neil’s Top 20 Questions</a:t>
            </a:r>
          </a:p>
        </p:txBody>
      </p:sp>
    </p:spTree>
    <p:extLst>
      <p:ext uri="{BB962C8B-B14F-4D97-AF65-F5344CB8AC3E}">
        <p14:creationId xmlns:p14="http://schemas.microsoft.com/office/powerpoint/2010/main" val="1673664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C3DD59-D762-D899-BC48-E682ACDBBB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C462AA2-DF14-012A-B503-78EB962953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620689"/>
            <a:ext cx="10224274" cy="5400600"/>
          </a:xfrm>
        </p:spPr>
        <p:txBody>
          <a:bodyPr anchor="ctr"/>
          <a:lstStyle/>
          <a:p>
            <a:pPr marL="98425" indent="0" algn="ctr">
              <a:buNone/>
            </a:pPr>
            <a:r>
              <a:rPr lang="en-US" sz="4000" dirty="0"/>
              <a:t>Is daratumumab a reasonable treatment</a:t>
            </a:r>
            <a:br>
              <a:rPr lang="en-US" sz="4000" dirty="0"/>
            </a:br>
            <a:r>
              <a:rPr lang="en-US" sz="4000" dirty="0"/>
              <a:t> option for patients with high-risk </a:t>
            </a:r>
            <a:br>
              <a:rPr lang="en-US" sz="4000" dirty="0"/>
            </a:br>
            <a:r>
              <a:rPr lang="en-US" sz="4000" dirty="0"/>
              <a:t>smoldering multiple myeloma? </a:t>
            </a:r>
          </a:p>
        </p:txBody>
      </p:sp>
    </p:spTree>
    <p:extLst>
      <p:ext uri="{BB962C8B-B14F-4D97-AF65-F5344CB8AC3E}">
        <p14:creationId xmlns:p14="http://schemas.microsoft.com/office/powerpoint/2010/main" val="1216390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B09677-5396-3A05-CF3D-F20D2595C6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620689"/>
            <a:ext cx="10358967" cy="5400600"/>
          </a:xfrm>
        </p:spPr>
        <p:txBody>
          <a:bodyPr anchor="ctr"/>
          <a:lstStyle/>
          <a:p>
            <a:pPr marL="98425" indent="0" algn="ctr">
              <a:buNone/>
            </a:pPr>
            <a:r>
              <a:rPr lang="en-US" sz="4000" dirty="0"/>
              <a:t>Should patients generally receive an anti-CD38 monoclonal antibody (</a:t>
            </a:r>
            <a:r>
              <a:rPr lang="en-US" sz="4000" dirty="0" err="1"/>
              <a:t>mAb</a:t>
            </a:r>
            <a:r>
              <a:rPr lang="en-US" sz="4000" dirty="0"/>
              <a:t>) as part of induction treatment (transplant eligible and ineligible)?</a:t>
            </a:r>
          </a:p>
        </p:txBody>
      </p:sp>
    </p:spTree>
    <p:extLst>
      <p:ext uri="{BB962C8B-B14F-4D97-AF65-F5344CB8AC3E}">
        <p14:creationId xmlns:p14="http://schemas.microsoft.com/office/powerpoint/2010/main" val="143031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BD0890-58C4-9C73-10F8-6D96E73823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FD72DA-95D5-471A-2E4A-05775EB94A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620689"/>
            <a:ext cx="10358967" cy="5400600"/>
          </a:xfrm>
        </p:spPr>
        <p:txBody>
          <a:bodyPr anchor="ctr"/>
          <a:lstStyle/>
          <a:p>
            <a:pPr marL="98425" indent="0" algn="ctr">
              <a:buNone/>
            </a:pPr>
            <a:r>
              <a:rPr lang="en-US" sz="4000" dirty="0"/>
              <a:t>What role, if any, do anti-CD38 </a:t>
            </a:r>
            <a:r>
              <a:rPr lang="en-US" sz="4000" dirty="0" err="1"/>
              <a:t>mAbs</a:t>
            </a:r>
            <a:r>
              <a:rPr lang="en-US" sz="4000" dirty="0"/>
              <a:t> </a:t>
            </a:r>
            <a:br>
              <a:rPr lang="en-US" sz="4000" dirty="0"/>
            </a:br>
            <a:r>
              <a:rPr lang="en-US" sz="4000" dirty="0"/>
              <a:t>play in maintenance treatment, </a:t>
            </a:r>
            <a:br>
              <a:rPr lang="en-US" sz="4000" dirty="0"/>
            </a:br>
            <a:r>
              <a:rPr lang="en-US" sz="4000" dirty="0"/>
              <a:t>and do MRD assays play a clinical role?</a:t>
            </a:r>
          </a:p>
        </p:txBody>
      </p:sp>
    </p:spTree>
    <p:extLst>
      <p:ext uri="{BB962C8B-B14F-4D97-AF65-F5344CB8AC3E}">
        <p14:creationId xmlns:p14="http://schemas.microsoft.com/office/powerpoint/2010/main" val="3023895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31A6C8-C92E-A241-858C-7428360944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ercial Suppor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F225B5-DDBB-F04C-87FC-4A699DA270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7" y="1416053"/>
            <a:ext cx="10224274" cy="4677243"/>
          </a:xfrm>
        </p:spPr>
        <p:txBody>
          <a:bodyPr/>
          <a:lstStyle/>
          <a:p>
            <a:pPr marL="98425" indent="0">
              <a:buNone/>
            </a:pPr>
            <a:r>
              <a:rPr lang="en-US" sz="2500" b="0" dirty="0"/>
              <a:t>This activity is supported by educational grants from GSK and Sanofi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4BB09F8-DB05-0C41-BA44-6971131BFCC3}"/>
              </a:ext>
            </a:extLst>
          </p:cNvPr>
          <p:cNvSpPr txBox="1">
            <a:spLocks/>
          </p:cNvSpPr>
          <p:nvPr/>
        </p:nvSpPr>
        <p:spPr bwMode="auto">
          <a:xfrm>
            <a:off x="912286" y="3589289"/>
            <a:ext cx="1035896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000" b="1">
                <a:solidFill>
                  <a:srgbClr val="3333FF"/>
                </a:solidFill>
                <a:latin typeface="Calibri"/>
                <a:ea typeface="MS PGothic" pitchFamily="34" charset="-128"/>
                <a:cs typeface="Calibri"/>
              </a:defRPr>
            </a:lvl1pPr>
            <a:lvl2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153622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6pPr>
            <a:lvl7pPr marL="199328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7pPr>
            <a:lvl8pPr marL="245033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8pPr>
            <a:lvl9pPr marL="290739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r>
              <a:rPr lang="en-US" kern="0"/>
              <a:t>Research To Practice CME Planning Committee Members, </a:t>
            </a:r>
            <a:br>
              <a:rPr lang="en-US" kern="0"/>
            </a:br>
            <a:r>
              <a:rPr lang="en-US" kern="0"/>
              <a:t>Staff and Reviewers</a:t>
            </a:r>
            <a:endParaRPr lang="en-US" kern="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5D69577-4750-EC4F-9DFD-0CC18B915698}"/>
              </a:ext>
            </a:extLst>
          </p:cNvPr>
          <p:cNvSpPr txBox="1">
            <a:spLocks/>
          </p:cNvSpPr>
          <p:nvPr/>
        </p:nvSpPr>
        <p:spPr bwMode="auto">
          <a:xfrm>
            <a:off x="912286" y="4869160"/>
            <a:ext cx="10512305" cy="136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90525" indent="-292100" algn="l" defTabSz="412750" rtl="0" eaLnBrk="0" fontAlgn="base" hangingPunct="0">
              <a:lnSpc>
                <a:spcPct val="105000"/>
              </a:lnSpc>
              <a:spcBef>
                <a:spcPct val="3000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itchFamily="-72" charset="0"/>
              <a:buChar char="•"/>
              <a:defRPr sz="2900" b="1">
                <a:solidFill>
                  <a:srgbClr val="000000"/>
                </a:solidFill>
                <a:latin typeface="Calibri" charset="0"/>
                <a:ea typeface="MS PGothic" pitchFamily="34" charset="-128"/>
                <a:cs typeface="MS PGothic" charset="0"/>
              </a:defRPr>
            </a:lvl1pPr>
            <a:lvl2pPr marL="782638" indent="-260350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 typeface="Symbol" pitchFamily="-72" charset="2"/>
              <a:buChar char=""/>
              <a:defRPr sz="2600" b="1">
                <a:solidFill>
                  <a:srgbClr val="000000"/>
                </a:solidFill>
                <a:latin typeface="Calibri" charset="0"/>
                <a:ea typeface="MS PGothic" pitchFamily="34" charset="-128"/>
              </a:defRPr>
            </a:lvl2pPr>
            <a:lvl3pPr marL="1173163" indent="-193675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Char char=""/>
              <a:defRPr sz="24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  <a:cs typeface="ＭＳ Ｐゴシック" pitchFamily="-72" charset="-128"/>
              </a:defRPr>
            </a:lvl3pPr>
            <a:lvl4pPr marL="1565275" indent="-193675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 typeface="Symbol" pitchFamily="-72" charset="2"/>
              <a:buChar char=""/>
              <a:defRPr sz="22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</a:defRPr>
            </a:lvl4pPr>
            <a:lvl5pPr marL="1957388" indent="-195263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Char char=""/>
              <a:defRPr sz="20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</a:defRPr>
            </a:lvl5pPr>
            <a:lvl6pPr marL="2615386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6pPr>
            <a:lvl7pPr marL="3072444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7pPr>
            <a:lvl8pPr marL="3529502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8pPr>
            <a:lvl9pPr marL="3986559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9pPr>
          </a:lstStyle>
          <a:p>
            <a:pPr marL="98425" indent="0">
              <a:buFont typeface="Arial" pitchFamily="-72" charset="0"/>
              <a:buNone/>
            </a:pPr>
            <a:r>
              <a:rPr lang="en-US" sz="2500" b="0" kern="0" dirty="0"/>
              <a:t>Planners, scientific staff and independent reviewers for Research To Practice have no relevant conflicts of interest to disclose.</a:t>
            </a:r>
          </a:p>
        </p:txBody>
      </p:sp>
    </p:spTree>
    <p:extLst>
      <p:ext uri="{BB962C8B-B14F-4D97-AF65-F5344CB8AC3E}">
        <p14:creationId xmlns:p14="http://schemas.microsoft.com/office/powerpoint/2010/main" val="217849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F200DE-9CA8-89BE-B561-55DBEF0DD2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F04B60-8994-ACB2-218D-81DC15B572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620689"/>
            <a:ext cx="10358967" cy="5400600"/>
          </a:xfrm>
        </p:spPr>
        <p:txBody>
          <a:bodyPr anchor="ctr"/>
          <a:lstStyle/>
          <a:p>
            <a:pPr marL="98425" indent="0" algn="ctr">
              <a:buNone/>
            </a:pPr>
            <a:r>
              <a:rPr lang="en-US" sz="4000" dirty="0"/>
              <a:t>Currently how do you decide which </a:t>
            </a:r>
            <a:br>
              <a:rPr lang="en-US" sz="4000" dirty="0"/>
            </a:br>
            <a:r>
              <a:rPr lang="en-US" sz="4000" dirty="0"/>
              <a:t>anti-CD38 </a:t>
            </a:r>
            <a:r>
              <a:rPr lang="en-US" sz="4000" dirty="0" err="1"/>
              <a:t>mAb</a:t>
            </a:r>
            <a:r>
              <a:rPr lang="en-US" sz="4000" dirty="0"/>
              <a:t> to use in induction? </a:t>
            </a:r>
            <a:br>
              <a:rPr lang="en-US" sz="4000" dirty="0"/>
            </a:br>
            <a:r>
              <a:rPr lang="en-US" sz="4000" dirty="0"/>
              <a:t>Do you believe there are differences </a:t>
            </a:r>
            <a:br>
              <a:rPr lang="en-US" sz="4000" dirty="0"/>
            </a:br>
            <a:r>
              <a:rPr lang="en-US" sz="4000" dirty="0"/>
              <a:t>in efficacy and safety between them?</a:t>
            </a:r>
          </a:p>
        </p:txBody>
      </p:sp>
    </p:spTree>
    <p:extLst>
      <p:ext uri="{BB962C8B-B14F-4D97-AF65-F5344CB8AC3E}">
        <p14:creationId xmlns:p14="http://schemas.microsoft.com/office/powerpoint/2010/main" val="1920084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1F1645-EBD1-6482-CBDE-27C7F6A99E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63C0EB7-E567-BE08-A20F-F3AF021CA1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620689"/>
            <a:ext cx="10358967" cy="5400600"/>
          </a:xfrm>
        </p:spPr>
        <p:txBody>
          <a:bodyPr anchor="ctr"/>
          <a:lstStyle/>
          <a:p>
            <a:pPr marL="98425" indent="0" algn="ctr">
              <a:buNone/>
            </a:pPr>
            <a:r>
              <a:rPr lang="en-US" sz="4000" dirty="0"/>
              <a:t>Is there a role for post-transplant </a:t>
            </a:r>
            <a:br>
              <a:rPr lang="en-US" sz="4000" dirty="0"/>
            </a:br>
            <a:r>
              <a:rPr lang="en-US" sz="4000" dirty="0"/>
              <a:t>MRD assessment?</a:t>
            </a:r>
          </a:p>
        </p:txBody>
      </p:sp>
    </p:spTree>
    <p:extLst>
      <p:ext uri="{BB962C8B-B14F-4D97-AF65-F5344CB8AC3E}">
        <p14:creationId xmlns:p14="http://schemas.microsoft.com/office/powerpoint/2010/main" val="1769730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CEF543-C2F4-18C1-5535-73F7B72965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C79AD9F-9515-F73B-A245-2C267B02BF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620689"/>
            <a:ext cx="10358967" cy="5400600"/>
          </a:xfrm>
        </p:spPr>
        <p:txBody>
          <a:bodyPr anchor="ctr"/>
          <a:lstStyle/>
          <a:p>
            <a:pPr marL="98425" indent="0" algn="ctr">
              <a:buNone/>
            </a:pPr>
            <a:r>
              <a:rPr lang="en-US" sz="4000" dirty="0"/>
              <a:t>How would you compare the patient experience with subcutaneous </a:t>
            </a:r>
            <a:r>
              <a:rPr lang="en-US" sz="4000" dirty="0" err="1"/>
              <a:t>isatuximab</a:t>
            </a:r>
            <a:r>
              <a:rPr lang="en-US" sz="4000" dirty="0"/>
              <a:t> versus subcutaneous daratumumab?</a:t>
            </a:r>
          </a:p>
        </p:txBody>
      </p:sp>
    </p:spTree>
    <p:extLst>
      <p:ext uri="{BB962C8B-B14F-4D97-AF65-F5344CB8AC3E}">
        <p14:creationId xmlns:p14="http://schemas.microsoft.com/office/powerpoint/2010/main" val="2109838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B85EE7-84A6-6968-ED32-6B94AAD4C0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8110115-4E3A-D487-7B09-289EF4325BAB}"/>
              </a:ext>
            </a:extLst>
          </p:cNvPr>
          <p:cNvSpPr/>
          <p:nvPr/>
        </p:nvSpPr>
        <p:spPr bwMode="auto">
          <a:xfrm>
            <a:off x="407368" y="3212976"/>
            <a:ext cx="11449272" cy="576064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771222-9973-95FB-B468-775CB73914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51" y="332656"/>
            <a:ext cx="1015269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br>
              <a:rPr lang="en-US" dirty="0"/>
            </a:br>
            <a:br>
              <a:rPr lang="en-US" sz="1200" dirty="0"/>
            </a:br>
            <a:r>
              <a:rPr lang="en-US" dirty="0"/>
              <a:t>Year in Review: Management of Multiple Myeloma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00BD2D-40B2-D22F-6B1C-A71A69317A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9533" y="1988840"/>
            <a:ext cx="9774980" cy="2736304"/>
          </a:xfrm>
        </p:spPr>
        <p:txBody>
          <a:bodyPr/>
          <a:lstStyle/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CO 2025 Preview</a:t>
            </a:r>
            <a:endParaRPr lang="en-US" sz="2400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1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ti-CD38 Antibodies</a:t>
            </a:r>
            <a:endParaRPr lang="en-US" sz="2400" b="1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chemeClr val="bg1"/>
                </a:solidFill>
              </a:rPr>
              <a:t>MODULE 2: </a:t>
            </a:r>
            <a:r>
              <a:rPr lang="en-US" sz="2400" b="1" kern="0" dirty="0" err="1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Belantamab</a:t>
            </a:r>
            <a:r>
              <a:rPr lang="en-US" sz="2400" b="1" kern="0" dirty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1" kern="0" dirty="0" err="1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Mafodotin</a:t>
            </a:r>
            <a:endParaRPr lang="en-US" sz="2400" b="1" kern="0" dirty="0">
              <a:solidFill>
                <a:schemeClr val="bg1"/>
              </a:solidFill>
              <a:effectLst/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3: </a:t>
            </a:r>
            <a:r>
              <a:rPr lang="en-US" sz="2400" b="1" kern="0" dirty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AR T-Cell Therapy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4: </a:t>
            </a:r>
            <a:r>
              <a:rPr lang="en-US" sz="2400" b="1" kern="0" dirty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Bispecific Antibodies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5: </a:t>
            </a:r>
            <a:r>
              <a:rPr lang="en-US" sz="240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Other</a:t>
            </a:r>
            <a:r>
              <a:rPr lang="en-US" sz="2400" dirty="0">
                <a:solidFill>
                  <a:srgbClr val="3233FF"/>
                </a:solidFill>
              </a:rPr>
              <a:t> </a:t>
            </a:r>
            <a:r>
              <a:rPr lang="en-US" sz="2400" b="1" kern="0" dirty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Novel Agents</a:t>
            </a:r>
          </a:p>
        </p:txBody>
      </p:sp>
    </p:spTree>
    <p:extLst>
      <p:ext uri="{BB962C8B-B14F-4D97-AF65-F5344CB8AC3E}">
        <p14:creationId xmlns:p14="http://schemas.microsoft.com/office/powerpoint/2010/main" val="938031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9038D6-C474-65EB-7626-7520D0E807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466" y="299778"/>
            <a:ext cx="11019691" cy="443198"/>
          </a:xfrm>
        </p:spPr>
        <p:txBody>
          <a:bodyPr/>
          <a:lstStyle/>
          <a:p>
            <a:r>
              <a:rPr lang="en-US" sz="3200" dirty="0">
                <a:solidFill>
                  <a:srgbClr val="C00000"/>
                </a:solidFill>
              </a:rPr>
              <a:t>DREAMM-8 Study: </a:t>
            </a:r>
            <a:r>
              <a:rPr lang="en-US" sz="3200" dirty="0" err="1">
                <a:solidFill>
                  <a:srgbClr val="C00000"/>
                </a:solidFill>
              </a:rPr>
              <a:t>BelaPd</a:t>
            </a:r>
            <a:r>
              <a:rPr lang="en-US" sz="3200" dirty="0">
                <a:solidFill>
                  <a:srgbClr val="C00000"/>
                </a:solidFill>
              </a:rPr>
              <a:t> vs </a:t>
            </a:r>
            <a:r>
              <a:rPr lang="en-US" sz="3200" dirty="0" err="1">
                <a:solidFill>
                  <a:srgbClr val="C00000"/>
                </a:solidFill>
              </a:rPr>
              <a:t>PVd</a:t>
            </a:r>
            <a:r>
              <a:rPr lang="en-US" sz="3200" dirty="0">
                <a:solidFill>
                  <a:srgbClr val="C00000"/>
                </a:solidFill>
              </a:rPr>
              <a:t> – Study Design</a:t>
            </a:r>
          </a:p>
        </p:txBody>
      </p:sp>
      <p:sp>
        <p:nvSpPr>
          <p:cNvPr id="3" name="object 37">
            <a:extLst>
              <a:ext uri="{FF2B5EF4-FFF2-40B4-BE49-F238E27FC236}">
                <a16:creationId xmlns:a16="http://schemas.microsoft.com/office/drawing/2014/main" id="{2E4D0F8E-E85D-F4C2-2A84-89D3117282B0}"/>
              </a:ext>
            </a:extLst>
          </p:cNvPr>
          <p:cNvSpPr txBox="1"/>
          <p:nvPr/>
        </p:nvSpPr>
        <p:spPr>
          <a:xfrm>
            <a:off x="179168" y="6611870"/>
            <a:ext cx="11875941" cy="145339"/>
          </a:xfrm>
          <a:prstGeom prst="rect">
            <a:avLst/>
          </a:prstGeom>
        </p:spPr>
        <p:txBody>
          <a:bodyPr vert="horz" wrap="square" lIns="0" tIns="6773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mopoulo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A, et al.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N Engl J Med. 2024 Aug 1;391(5):408-421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0" name="Straight Arrow Connector 55">
            <a:extLst>
              <a:ext uri="{FF2B5EF4-FFF2-40B4-BE49-F238E27FC236}">
                <a16:creationId xmlns:a16="http://schemas.microsoft.com/office/drawing/2014/main" id="{537A11E4-A301-EA2A-75D8-EC2023B08FA1}"/>
              </a:ext>
            </a:extLst>
          </p:cNvPr>
          <p:cNvCxnSpPr>
            <a:cxnSpLocks/>
          </p:cNvCxnSpPr>
          <p:nvPr/>
        </p:nvCxnSpPr>
        <p:spPr>
          <a:xfrm>
            <a:off x="8095971" y="4595406"/>
            <a:ext cx="259737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72">
            <a:extLst>
              <a:ext uri="{FF2B5EF4-FFF2-40B4-BE49-F238E27FC236}">
                <a16:creationId xmlns:a16="http://schemas.microsoft.com/office/drawing/2014/main" id="{B70E2F72-5BD4-171A-567C-B1103D435520}"/>
              </a:ext>
            </a:extLst>
          </p:cNvPr>
          <p:cNvCxnSpPr>
            <a:cxnSpLocks/>
          </p:cNvCxnSpPr>
          <p:nvPr/>
        </p:nvCxnSpPr>
        <p:spPr>
          <a:xfrm>
            <a:off x="8091744" y="3073799"/>
            <a:ext cx="259737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: Rounded Corners 43">
            <a:extLst>
              <a:ext uri="{FF2B5EF4-FFF2-40B4-BE49-F238E27FC236}">
                <a16:creationId xmlns:a16="http://schemas.microsoft.com/office/drawing/2014/main" id="{862A1875-7442-0634-DCF8-E52353827374}"/>
              </a:ext>
            </a:extLst>
          </p:cNvPr>
          <p:cNvSpPr/>
          <p:nvPr/>
        </p:nvSpPr>
        <p:spPr>
          <a:xfrm>
            <a:off x="8705571" y="2347432"/>
            <a:ext cx="2868902" cy="3158837"/>
          </a:xfrm>
          <a:prstGeom prst="round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Rectangle 46">
            <a:extLst>
              <a:ext uri="{FF2B5EF4-FFF2-40B4-BE49-F238E27FC236}">
                <a16:creationId xmlns:a16="http://schemas.microsoft.com/office/drawing/2014/main" id="{1BE80858-6DB5-0F6A-2485-01BC720D3FBA}"/>
              </a:ext>
            </a:extLst>
          </p:cNvPr>
          <p:cNvSpPr/>
          <p:nvPr/>
        </p:nvSpPr>
        <p:spPr>
          <a:xfrm>
            <a:off x="3730635" y="2363472"/>
            <a:ext cx="307762" cy="1437541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45720" rIns="4572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BPd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(Q4W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6" name="Rectangle 47">
            <a:extLst>
              <a:ext uri="{FF2B5EF4-FFF2-40B4-BE49-F238E27FC236}">
                <a16:creationId xmlns:a16="http://schemas.microsoft.com/office/drawing/2014/main" id="{E531051C-A739-2DC7-D7CA-85A2E64557D2}"/>
              </a:ext>
            </a:extLst>
          </p:cNvPr>
          <p:cNvSpPr/>
          <p:nvPr/>
        </p:nvSpPr>
        <p:spPr>
          <a:xfrm>
            <a:off x="3730635" y="3885450"/>
            <a:ext cx="307762" cy="1593577"/>
          </a:xfrm>
          <a:prstGeom prst="rect">
            <a:avLst/>
          </a:prstGeom>
          <a:solidFill>
            <a:schemeClr val="bg2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PVd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(Q3W)</a:t>
            </a:r>
          </a:p>
        </p:txBody>
      </p:sp>
      <p:sp>
        <p:nvSpPr>
          <p:cNvPr id="57" name="Rectangle 48">
            <a:extLst>
              <a:ext uri="{FF2B5EF4-FFF2-40B4-BE49-F238E27FC236}">
                <a16:creationId xmlns:a16="http://schemas.microsoft.com/office/drawing/2014/main" id="{544F725D-C3DD-8F42-6EF5-5FF3E69BD030}"/>
              </a:ext>
            </a:extLst>
          </p:cNvPr>
          <p:cNvSpPr/>
          <p:nvPr/>
        </p:nvSpPr>
        <p:spPr>
          <a:xfrm>
            <a:off x="4100256" y="2363472"/>
            <a:ext cx="3995715" cy="1439911"/>
          </a:xfrm>
          <a:prstGeom prst="rect">
            <a:avLst/>
          </a:prstGeom>
          <a:solidFill>
            <a:schemeClr val="accent1">
              <a:lumMod val="40000"/>
              <a:lumOff val="60000"/>
              <a:alpha val="20000"/>
            </a:scheme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lantamab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</a:t>
            </a: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fodotin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5 mg/kg IV (cycle 1) then 1.9 mg/kg IV Q4W from cycle 2 onward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malidomide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 mg orally on days 1-21 (28-day cycles)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xamethasone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40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g</a:t>
            </a:r>
            <a:r>
              <a:rPr kumimoji="0" lang="en-US" sz="1100" b="0" i="0" u="none" strike="noStrike" kern="1200" cap="none" spc="0" normalizeH="0" baseline="3000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n days 1, 8, 15, and 22</a:t>
            </a:r>
          </a:p>
        </p:txBody>
      </p:sp>
      <p:sp>
        <p:nvSpPr>
          <p:cNvPr id="58" name="Rectangle 49">
            <a:extLst>
              <a:ext uri="{FF2B5EF4-FFF2-40B4-BE49-F238E27FC236}">
                <a16:creationId xmlns:a16="http://schemas.microsoft.com/office/drawing/2014/main" id="{5C8A73E5-6D28-B238-E51A-1707B09E6DB7}"/>
              </a:ext>
            </a:extLst>
          </p:cNvPr>
          <p:cNvSpPr/>
          <p:nvPr/>
        </p:nvSpPr>
        <p:spPr>
          <a:xfrm>
            <a:off x="4100256" y="3899144"/>
            <a:ext cx="3986479" cy="157988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rtezomib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.3 mg/m</a:t>
            </a:r>
            <a:r>
              <a:rPr kumimoji="0" lang="en-US" sz="11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C on days 1, 4, 8, and 11 of cycles 1-8 then days 1 and 8 (21-day cycles)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malidomide</a:t>
            </a: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 mg orally on days 1-14 (21-day cycles)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xamethasone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 </a:t>
            </a:r>
            <a:r>
              <a:rPr kumimoji="0" lang="en-U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g</a:t>
            </a:r>
            <a:r>
              <a:rPr kumimoji="0" lang="en-US" sz="1100" b="0" i="0" u="none" strike="noStrike" kern="1200" cap="none" spc="0" normalizeH="0" baseline="3000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n the day of and day after bortezomib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E23364C-ACA8-D9A2-EE14-06443C592FAA}"/>
              </a:ext>
            </a:extLst>
          </p:cNvPr>
          <p:cNvSpPr txBox="1"/>
          <p:nvPr/>
        </p:nvSpPr>
        <p:spPr>
          <a:xfrm>
            <a:off x="4100256" y="1534999"/>
            <a:ext cx="3991488" cy="584775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wrap="square" lIns="91440" tIns="45720" rIns="91440" bIns="45720" rtlCol="0" anchor="ctr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 period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til PD, death, unacceptable toxicity, end of study, or </a:t>
            </a: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drawal of consent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cxnSp>
        <p:nvCxnSpPr>
          <p:cNvPr id="60" name="Straight Arrow Connector 51">
            <a:extLst>
              <a:ext uri="{FF2B5EF4-FFF2-40B4-BE49-F238E27FC236}">
                <a16:creationId xmlns:a16="http://schemas.microsoft.com/office/drawing/2014/main" id="{AA248DCD-57CE-3C68-99E2-89AA1273A617}"/>
              </a:ext>
            </a:extLst>
          </p:cNvPr>
          <p:cNvCxnSpPr>
            <a:cxnSpLocks/>
          </p:cNvCxnSpPr>
          <p:nvPr/>
        </p:nvCxnSpPr>
        <p:spPr>
          <a:xfrm>
            <a:off x="2668378" y="3946170"/>
            <a:ext cx="409553" cy="518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52">
            <a:extLst>
              <a:ext uri="{FF2B5EF4-FFF2-40B4-BE49-F238E27FC236}">
                <a16:creationId xmlns:a16="http://schemas.microsoft.com/office/drawing/2014/main" id="{BB92BE50-27A2-13B6-161C-BB2F779E4C5C}"/>
              </a:ext>
            </a:extLst>
          </p:cNvPr>
          <p:cNvCxnSpPr>
            <a:cxnSpLocks/>
          </p:cNvCxnSpPr>
          <p:nvPr/>
        </p:nvCxnSpPr>
        <p:spPr>
          <a:xfrm>
            <a:off x="3433520" y="3041002"/>
            <a:ext cx="297115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53">
            <a:extLst>
              <a:ext uri="{FF2B5EF4-FFF2-40B4-BE49-F238E27FC236}">
                <a16:creationId xmlns:a16="http://schemas.microsoft.com/office/drawing/2014/main" id="{6BF55A54-1109-8656-DCF2-C6CEED383E9B}"/>
              </a:ext>
            </a:extLst>
          </p:cNvPr>
          <p:cNvCxnSpPr>
            <a:cxnSpLocks/>
          </p:cNvCxnSpPr>
          <p:nvPr/>
        </p:nvCxnSpPr>
        <p:spPr>
          <a:xfrm>
            <a:off x="3433519" y="4597038"/>
            <a:ext cx="297115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283E93B9-3083-2966-4F07-53A0ACE5FB38}"/>
              </a:ext>
            </a:extLst>
          </p:cNvPr>
          <p:cNvSpPr txBox="1"/>
          <p:nvPr/>
        </p:nvSpPr>
        <p:spPr>
          <a:xfrm>
            <a:off x="8781756" y="2561595"/>
            <a:ext cx="2717131" cy="2769989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mary endpoint: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FS (IRC assessed per IMWG)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secondary endpoints: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, MRD negativity, DOR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ditional secondary endpoints include: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R, CRR, ≥VGPR,TTBR, TTR, TTP, PFS2, AEs, ocular findings, HRQOL, and PROs</a:t>
            </a:r>
          </a:p>
        </p:txBody>
      </p:sp>
      <p:sp>
        <p:nvSpPr>
          <p:cNvPr id="64" name="Rectangle: Rounded Corners 67">
            <a:extLst>
              <a:ext uri="{FF2B5EF4-FFF2-40B4-BE49-F238E27FC236}">
                <a16:creationId xmlns:a16="http://schemas.microsoft.com/office/drawing/2014/main" id="{6843BBA4-C8DD-8F56-2C97-7672AFF7E7D4}"/>
              </a:ext>
            </a:extLst>
          </p:cNvPr>
          <p:cNvSpPr/>
          <p:nvPr/>
        </p:nvSpPr>
        <p:spPr>
          <a:xfrm>
            <a:off x="673110" y="2457994"/>
            <a:ext cx="2065770" cy="2903344"/>
          </a:xfrm>
          <a:prstGeom prst="roundRect">
            <a:avLst>
              <a:gd name="adj" fmla="val 12456"/>
            </a:avLst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ligibility criteria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420CF8A3-7FA7-EBAB-1200-9398DC24FE9D}"/>
              </a:ext>
            </a:extLst>
          </p:cNvPr>
          <p:cNvSpPr txBox="1"/>
          <p:nvPr/>
        </p:nvSpPr>
        <p:spPr>
          <a:xfrm>
            <a:off x="715073" y="2806792"/>
            <a:ext cx="1996098" cy="23544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dults with MM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≥1 prior line of MM therapy including LEN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Documented PD during or after their most recent therapy</a:t>
            </a:r>
          </a:p>
          <a:p>
            <a:pPr marL="285750" marR="0" lvl="0" indent="-2857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No prior treatment with anti-BCMA or pomalidomide; not refractory/intolerant to bortezomib</a:t>
            </a:r>
          </a:p>
        </p:txBody>
      </p:sp>
      <p:sp>
        <p:nvSpPr>
          <p:cNvPr id="66" name="Rectangle 69">
            <a:extLst>
              <a:ext uri="{FF2B5EF4-FFF2-40B4-BE49-F238E27FC236}">
                <a16:creationId xmlns:a16="http://schemas.microsoft.com/office/drawing/2014/main" id="{933F3B83-CF56-673B-0B60-AA28FA80784D}"/>
              </a:ext>
            </a:extLst>
          </p:cNvPr>
          <p:cNvSpPr/>
          <p:nvPr/>
        </p:nvSpPr>
        <p:spPr>
          <a:xfrm>
            <a:off x="8380908" y="2732770"/>
            <a:ext cx="273252" cy="222933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End-of-treatment visit</a:t>
            </a:r>
          </a:p>
        </p:txBody>
      </p:sp>
      <p:sp>
        <p:nvSpPr>
          <p:cNvPr id="67" name="Rectangle 74">
            <a:extLst>
              <a:ext uri="{FF2B5EF4-FFF2-40B4-BE49-F238E27FC236}">
                <a16:creationId xmlns:a16="http://schemas.microsoft.com/office/drawing/2014/main" id="{9C33BBDF-84A0-4179-3482-64FDB7F61FF9}"/>
              </a:ext>
            </a:extLst>
          </p:cNvPr>
          <p:cNvSpPr/>
          <p:nvPr/>
        </p:nvSpPr>
        <p:spPr>
          <a:xfrm>
            <a:off x="672412" y="5557032"/>
            <a:ext cx="2934958" cy="739754"/>
          </a:xfrm>
          <a:prstGeom prst="rect">
            <a:avLst/>
          </a:prstGeom>
          <a:solidFill>
            <a:schemeClr val="tx2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wrap="square" lIns="90000" rIns="90000" bIns="468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A8B7D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Stratification</a:t>
            </a:r>
            <a:r>
              <a:rPr kumimoji="0" lang="en-US" sz="1050" b="0" i="0" u="none" strike="noStrike" kern="0" cap="none" spc="0" normalizeH="0" baseline="3000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b</a:t>
            </a: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: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or lines of treatment (1 vs 2 or 3 vs ≥4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or bortezomib (yes vs no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Prior anti-CD38 therapy (yes vs no)</a:t>
            </a:r>
          </a:p>
        </p:txBody>
      </p:sp>
      <p:grpSp>
        <p:nvGrpSpPr>
          <p:cNvPr id="68" name="Group 75">
            <a:extLst>
              <a:ext uri="{FF2B5EF4-FFF2-40B4-BE49-F238E27FC236}">
                <a16:creationId xmlns:a16="http://schemas.microsoft.com/office/drawing/2014/main" id="{B60343D7-4881-0EE0-BC08-82B9776EF600}"/>
              </a:ext>
            </a:extLst>
          </p:cNvPr>
          <p:cNvGrpSpPr/>
          <p:nvPr/>
        </p:nvGrpSpPr>
        <p:grpSpPr>
          <a:xfrm>
            <a:off x="672412" y="1534999"/>
            <a:ext cx="2934958" cy="583200"/>
            <a:chOff x="808329" y="863482"/>
            <a:chExt cx="2246832" cy="608385"/>
          </a:xfrm>
          <a:solidFill>
            <a:schemeClr val="tx2"/>
          </a:solidFill>
        </p:grpSpPr>
        <p:sp>
          <p:nvSpPr>
            <p:cNvPr id="69" name="Rectangle 76">
              <a:extLst>
                <a:ext uri="{FF2B5EF4-FFF2-40B4-BE49-F238E27FC236}">
                  <a16:creationId xmlns:a16="http://schemas.microsoft.com/office/drawing/2014/main" id="{4FC25220-ADAD-8B18-2496-6926CD0F0D78}"/>
                </a:ext>
              </a:extLst>
            </p:cNvPr>
            <p:cNvSpPr/>
            <p:nvPr/>
          </p:nvSpPr>
          <p:spPr>
            <a:xfrm>
              <a:off x="808329" y="863482"/>
              <a:ext cx="2246832" cy="608385"/>
            </a:xfrm>
            <a:prstGeom prst="rect">
              <a:avLst/>
            </a:prstGeom>
            <a:grpFill/>
            <a:ln w="63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663B8F3-8808-D7C9-8B5E-C4B5D365789B}"/>
                </a:ext>
              </a:extLst>
            </p:cNvPr>
            <p:cNvSpPr txBox="1"/>
            <p:nvPr/>
          </p:nvSpPr>
          <p:spPr>
            <a:xfrm>
              <a:off x="1017297" y="943609"/>
              <a:ext cx="1850173" cy="465548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cruitment period</a:t>
              </a:r>
              <a:b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ctober 2020 to December 2022</a:t>
              </a:r>
            </a:p>
          </p:txBody>
        </p:sp>
      </p:grpSp>
      <p:sp>
        <p:nvSpPr>
          <p:cNvPr id="71" name="Rectangle 45">
            <a:extLst>
              <a:ext uri="{FF2B5EF4-FFF2-40B4-BE49-F238E27FC236}">
                <a16:creationId xmlns:a16="http://schemas.microsoft.com/office/drawing/2014/main" id="{29AD76AC-F0CC-703B-D804-8D47EACC988F}"/>
              </a:ext>
            </a:extLst>
          </p:cNvPr>
          <p:cNvSpPr/>
          <p:nvPr/>
        </p:nvSpPr>
        <p:spPr>
          <a:xfrm>
            <a:off x="3104870" y="2750973"/>
            <a:ext cx="309600" cy="213123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1:1 randomization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50423E7E-302D-8C91-688B-7CADA54A9185}"/>
              </a:ext>
            </a:extLst>
          </p:cNvPr>
          <p:cNvSpPr txBox="1"/>
          <p:nvPr/>
        </p:nvSpPr>
        <p:spPr>
          <a:xfrm>
            <a:off x="2525379" y="2578881"/>
            <a:ext cx="14685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=302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E8C833-08B0-C3E6-FE29-DB387ADF1094}"/>
              </a:ext>
            </a:extLst>
          </p:cNvPr>
          <p:cNvSpPr txBox="1"/>
          <p:nvPr/>
        </p:nvSpPr>
        <p:spPr>
          <a:xfrm>
            <a:off x="144966" y="6490010"/>
            <a:ext cx="33927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Thanos C Dimopoulos, MD</a:t>
            </a:r>
          </a:p>
        </p:txBody>
      </p:sp>
    </p:spTree>
    <p:extLst>
      <p:ext uri="{BB962C8B-B14F-4D97-AF65-F5344CB8AC3E}">
        <p14:creationId xmlns:p14="http://schemas.microsoft.com/office/powerpoint/2010/main" val="247125159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504FD428-FA29-4DC0-1DE5-7E70448F1EE7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125938" y="1029277"/>
          <a:ext cx="5545189" cy="50520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5657">
                  <a:extLst>
                    <a:ext uri="{9D8B030D-6E8A-4147-A177-3AD203B41FA5}">
                      <a16:colId xmlns:a16="http://schemas.microsoft.com/office/drawing/2014/main" val="1714412840"/>
                    </a:ext>
                  </a:extLst>
                </a:gridCol>
                <a:gridCol w="1458617">
                  <a:extLst>
                    <a:ext uri="{9D8B030D-6E8A-4147-A177-3AD203B41FA5}">
                      <a16:colId xmlns:a16="http://schemas.microsoft.com/office/drawing/2014/main" val="3025547228"/>
                    </a:ext>
                  </a:extLst>
                </a:gridCol>
                <a:gridCol w="1370915">
                  <a:extLst>
                    <a:ext uri="{9D8B030D-6E8A-4147-A177-3AD203B41FA5}">
                      <a16:colId xmlns:a16="http://schemas.microsoft.com/office/drawing/2014/main" val="1415950296"/>
                    </a:ext>
                  </a:extLst>
                </a:gridCol>
              </a:tblGrid>
              <a:tr h="234890">
                <a:tc rowSpan="2">
                  <a:txBody>
                    <a:bodyPr/>
                    <a:lstStyle/>
                    <a:p>
                      <a:pPr algn="l"/>
                      <a:r>
                        <a:rPr lang="en-US" sz="1200" dirty="0">
                          <a:solidFill>
                            <a:schemeClr val="tx1"/>
                          </a:solidFill>
                          <a:latin typeface="+mj-lt"/>
                        </a:rPr>
                        <a:t>Baseline characteristics</a:t>
                      </a:r>
                      <a:endParaRPr lang="en-US" sz="120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B w="38100" cmpd="sng">
                      <a:noFill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solidFill>
                            <a:schemeClr val="tx1"/>
                          </a:solidFill>
                          <a:latin typeface="+mj-lt"/>
                        </a:rPr>
                        <a:t>ITT population</a:t>
                      </a:r>
                      <a:endParaRPr lang="en-US" sz="1200" b="1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8394126"/>
                  </a:ext>
                </a:extLst>
              </a:tr>
              <a:tr h="234890">
                <a:tc vMerge="1">
                  <a:txBody>
                    <a:bodyPr/>
                    <a:lstStyle/>
                    <a:p>
                      <a:endParaRPr lang="en-US" sz="140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solidFill>
                            <a:schemeClr val="bg1"/>
                          </a:solidFill>
                          <a:latin typeface="+mj-lt"/>
                        </a:rPr>
                        <a:t>BPd (N=155)</a:t>
                      </a:r>
                      <a:endParaRPr lang="en-US" sz="1200" b="1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>
                    <a:lnL w="381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>
                          <a:solidFill>
                            <a:schemeClr val="bg1"/>
                          </a:solidFill>
                          <a:latin typeface="+mj-lt"/>
                        </a:rPr>
                        <a:t>PVd (N=147)</a:t>
                      </a:r>
                      <a:endParaRPr lang="en-US" sz="1200" b="1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332177"/>
                  </a:ext>
                </a:extLst>
              </a:tr>
              <a:tr h="626373">
                <a:tc>
                  <a:txBody>
                    <a:bodyPr/>
                    <a:lstStyle/>
                    <a:p>
                      <a:pPr algn="l"/>
                      <a:r>
                        <a:rPr lang="en-US" sz="1050" b="1" dirty="0">
                          <a:solidFill>
                            <a:schemeClr val="tx1"/>
                          </a:solidFill>
                        </a:rPr>
                        <a:t>Age, median (range), years </a:t>
                      </a:r>
                    </a:p>
                    <a:p>
                      <a:pPr marL="461963" lvl="1" indent="0" algn="l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&lt;65, n (%)</a:t>
                      </a:r>
                    </a:p>
                    <a:p>
                      <a:pPr marL="461963" lvl="1" indent="0" algn="l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65 to &lt;75, n (%)</a:t>
                      </a:r>
                    </a:p>
                    <a:p>
                      <a:pPr marL="461963" lvl="1" indent="0" algn="l"/>
                      <a:r>
                        <a:rPr lang="en-US" sz="1050" b="0" dirty="0">
                          <a:solidFill>
                            <a:schemeClr val="tx1"/>
                          </a:solidFill>
                        </a:rPr>
                        <a:t>≥75, n (%)</a:t>
                      </a:r>
                      <a:endParaRPr lang="en-US" sz="105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050" kern="1200" dirty="0">
                          <a:solidFill>
                            <a:schemeClr val="tx1"/>
                          </a:solidFill>
                          <a:effectLst/>
                        </a:rPr>
                        <a:t>67 (40-82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chemeClr val="tx1"/>
                          </a:solidFill>
                          <a:effectLst/>
                        </a:rPr>
                        <a:t>64 (41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chemeClr val="tx1"/>
                          </a:solidFill>
                          <a:effectLst/>
                        </a:rPr>
                        <a:t>72 (46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chemeClr val="tx1"/>
                          </a:solidFill>
                          <a:effectLst/>
                        </a:rPr>
                        <a:t>19 (12)</a:t>
                      </a:r>
                      <a:endParaRPr lang="en-US" sz="105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050" kern="1200">
                          <a:solidFill>
                            <a:schemeClr val="tx1"/>
                          </a:solidFill>
                          <a:effectLst/>
                        </a:rPr>
                        <a:t>68 (34-86)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050" kern="1200">
                          <a:solidFill>
                            <a:schemeClr val="tx1"/>
                          </a:solidFill>
                          <a:effectLst/>
                        </a:rPr>
                        <a:t>53 (36)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050" kern="1200">
                          <a:solidFill>
                            <a:schemeClr val="tx1"/>
                          </a:solidFill>
                          <a:effectLst/>
                        </a:rPr>
                        <a:t>59 (40)</a:t>
                      </a:r>
                    </a:p>
                    <a:p>
                      <a:pPr marL="0" algn="l" defTabSz="914400" rtl="0" eaLnBrk="1" latinLnBrk="0" hangingPunct="1"/>
                      <a:r>
                        <a:rPr lang="en-US" sz="1050" kern="1200">
                          <a:solidFill>
                            <a:schemeClr val="tx1"/>
                          </a:solidFill>
                          <a:effectLst/>
                        </a:rPr>
                        <a:t>35 (24)</a:t>
                      </a:r>
                      <a:endParaRPr lang="en-US" sz="1050" kern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9782220"/>
                  </a:ext>
                </a:extLst>
              </a:tr>
              <a:tr h="2153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</a:rPr>
                        <a:t>Male/female, n (%) </a:t>
                      </a:r>
                      <a:endParaRPr lang="en-US" sz="105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99 (64)/56 (36)</a:t>
                      </a:r>
                      <a:endParaRPr lang="en-US" sz="105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82 (56)/65 (44)</a:t>
                      </a:r>
                      <a:endParaRPr lang="en-US" sz="105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458773"/>
                  </a:ext>
                </a:extLst>
              </a:tr>
              <a:tr h="2153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</a:rPr>
                        <a:t>White/Black/Asian/Mixed race, n (%)</a:t>
                      </a:r>
                      <a:r>
                        <a:rPr lang="en-US" sz="1050" b="1" baseline="30000" dirty="0">
                          <a:solidFill>
                            <a:schemeClr val="tx1"/>
                          </a:solidFill>
                        </a:rPr>
                        <a:t>a</a:t>
                      </a:r>
                      <a:endParaRPr lang="en-US" sz="105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chemeClr val="tx1"/>
                          </a:solidFill>
                          <a:effectLst/>
                        </a:rPr>
                        <a:t>133 (86)/0/20 (13)/1 (&lt;1)</a:t>
                      </a:r>
                      <a:endParaRPr lang="en-US" sz="105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>
                          <a:solidFill>
                            <a:schemeClr val="tx1"/>
                          </a:solidFill>
                          <a:effectLst/>
                        </a:rPr>
                        <a:t>127 (87)/0/17 (12)/0</a:t>
                      </a:r>
                      <a:endParaRPr lang="en-US" sz="105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3683877"/>
                  </a:ext>
                </a:extLst>
              </a:tr>
              <a:tr h="215316">
                <a:tc>
                  <a:txBody>
                    <a:bodyPr/>
                    <a:lstStyle/>
                    <a:p>
                      <a:pPr algn="l"/>
                      <a:r>
                        <a:rPr lang="en-US" sz="1050" b="1">
                          <a:solidFill>
                            <a:schemeClr val="tx1"/>
                          </a:solidFill>
                        </a:rPr>
                        <a:t>ECOG PS ≤1, n (%)</a:t>
                      </a:r>
                      <a:r>
                        <a:rPr lang="en-US" sz="1050" b="1" baseline="30000">
                          <a:solidFill>
                            <a:schemeClr val="tx1"/>
                          </a:solidFill>
                        </a:rPr>
                        <a:t>b</a:t>
                      </a:r>
                      <a:endParaRPr lang="en-US" sz="105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46 (97)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140 (97)</a:t>
                      </a:r>
                      <a:endParaRPr lang="en-US" sz="105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3401990"/>
                  </a:ext>
                </a:extLst>
              </a:tr>
              <a:tr h="76339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</a:rPr>
                        <a:t>ISS stage at screening, n (%)</a:t>
                      </a:r>
                    </a:p>
                    <a:p>
                      <a:pPr marL="46196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I</a:t>
                      </a: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II</a:t>
                      </a: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III</a:t>
                      </a: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Unknown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kern="12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93 (60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39 (25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22 (14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1 (&lt;1)</a:t>
                      </a:r>
                      <a:endParaRPr lang="en-US" sz="105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kern="120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85 (58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40 (27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22 (15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05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6933670"/>
                  </a:ext>
                </a:extLst>
              </a:tr>
              <a:tr h="215316">
                <a:tc>
                  <a:txBody>
                    <a:bodyPr/>
                    <a:lstStyle/>
                    <a:p>
                      <a:pPr algn="l"/>
                      <a:r>
                        <a:rPr lang="en-US" sz="1050" b="1" strike="noStrike">
                          <a:solidFill>
                            <a:schemeClr val="tx1"/>
                          </a:solidFill>
                        </a:rPr>
                        <a:t>Years since diagnosis, median (range)</a:t>
                      </a:r>
                      <a:endParaRPr lang="en-US" sz="1050" b="1" strike="sngStrike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strike="noStrike" kern="1200">
                          <a:solidFill>
                            <a:schemeClr val="tx1"/>
                          </a:solidFill>
                          <a:effectLst/>
                        </a:rPr>
                        <a:t>4.04 (0.4-16.7)</a:t>
                      </a:r>
                      <a:endParaRPr lang="en-US" sz="1050" strike="noStrike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strike="noStrike">
                          <a:solidFill>
                            <a:schemeClr val="tx1"/>
                          </a:solidFill>
                        </a:rPr>
                        <a:t>3.43 (0.4-17.7)</a:t>
                      </a:r>
                      <a:endParaRPr lang="en-US" sz="1050" strike="noStrike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835003"/>
                  </a:ext>
                </a:extLst>
              </a:tr>
              <a:tr h="6263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</a:rPr>
                        <a:t>Cytogenetic abnormalities, n (%) </a:t>
                      </a:r>
                      <a:endParaRPr lang="en-US" sz="1050" b="1" baseline="30000">
                        <a:solidFill>
                          <a:schemeClr val="tx1"/>
                        </a:solidFill>
                      </a:endParaRP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Standard risk</a:t>
                      </a:r>
                      <a:r>
                        <a:rPr lang="en-US" sz="1050" baseline="30000">
                          <a:solidFill>
                            <a:schemeClr val="tx1"/>
                          </a:solidFill>
                        </a:rPr>
                        <a:t>c</a:t>
                      </a: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aseline="0">
                          <a:solidFill>
                            <a:schemeClr val="tx1"/>
                          </a:solidFill>
                        </a:rPr>
                        <a:t>High risk</a:t>
                      </a:r>
                      <a:r>
                        <a:rPr lang="en-US" sz="1050" baseline="30000">
                          <a:solidFill>
                            <a:schemeClr val="tx1"/>
                          </a:solidFill>
                        </a:rPr>
                        <a:t>d</a:t>
                      </a:r>
                      <a:endParaRPr lang="en-US" sz="1050" baseline="0">
                        <a:solidFill>
                          <a:schemeClr val="tx1"/>
                        </a:solidFill>
                      </a:endParaRP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Missing or nonevaluable</a:t>
                      </a:r>
                      <a:endParaRPr lang="en-US" sz="105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72 (46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52 (34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31 (20)</a:t>
                      </a:r>
                      <a:endParaRPr lang="en-US" sz="105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75 (51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47 (32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25 (17)</a:t>
                      </a:r>
                      <a:endParaRPr lang="en-US" sz="105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3644606"/>
                  </a:ext>
                </a:extLst>
              </a:tr>
              <a:tr h="489354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</a:rPr>
                        <a:t>Time to relapse after initiation of 1L treatment</a:t>
                      </a:r>
                    </a:p>
                    <a:p>
                      <a:pPr marL="461963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≤12 months</a:t>
                      </a:r>
                      <a:br>
                        <a:rPr lang="en-US" sz="1050">
                          <a:solidFill>
                            <a:schemeClr val="tx1"/>
                          </a:solidFill>
                        </a:rPr>
                      </a:b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&gt;12 months</a:t>
                      </a:r>
                      <a:endParaRPr lang="en-US" sz="105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</a:rPr>
                        <a:t>22 (14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</a:rPr>
                        <a:t>133 (86)</a:t>
                      </a:r>
                      <a:endParaRPr lang="en-US" sz="105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</a:rPr>
                        <a:t>20 (14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</a:rPr>
                        <a:t>127 (86)</a:t>
                      </a:r>
                      <a:endParaRPr lang="en-US" sz="1050" b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2098632"/>
                  </a:ext>
                </a:extLst>
              </a:tr>
              <a:tr h="2153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</a:rPr>
                        <a:t>Extramedullary disease, n (%)</a:t>
                      </a:r>
                      <a:endParaRPr lang="en-US" sz="1050" b="1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>
                          <a:solidFill>
                            <a:schemeClr val="tx1"/>
                          </a:solidFill>
                        </a:rPr>
                        <a:t>20 (13)</a:t>
                      </a:r>
                      <a:endParaRPr lang="en-US" sz="105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11 (7)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199801"/>
                  </a:ext>
                </a:extLst>
              </a:tr>
            </a:tbl>
          </a:graphicData>
        </a:graphic>
      </p:graphicFrame>
      <p:sp>
        <p:nvSpPr>
          <p:cNvPr id="12" name="Title 4">
            <a:extLst>
              <a:ext uri="{FF2B5EF4-FFF2-40B4-BE49-F238E27FC236}">
                <a16:creationId xmlns:a16="http://schemas.microsoft.com/office/drawing/2014/main" id="{0BB225E0-6C15-2958-9BF9-97EB58A7FA6E}"/>
              </a:ext>
            </a:extLst>
          </p:cNvPr>
          <p:cNvSpPr txBox="1">
            <a:spLocks/>
          </p:cNvSpPr>
          <p:nvPr/>
        </p:nvSpPr>
        <p:spPr>
          <a:xfrm>
            <a:off x="365124" y="149226"/>
            <a:ext cx="11522075" cy="722312"/>
          </a:xfrm>
          <a:prstGeom prst="rect">
            <a:avLst/>
          </a:prstGeom>
        </p:spPr>
        <p:txBody>
          <a:bodyPr vert="horz" lIns="72000" tIns="72000" rIns="0" bIns="0" rtlCol="0" anchor="t" anchorCtr="0">
            <a:noAutofit/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j-ea"/>
                <a:cs typeface="Arial" panose="020B0604020202020204" pitchFamily="34" charset="0"/>
              </a:rPr>
              <a:t>DREAMM-8: Baseline Characteristics Were Balanced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F1E0CE40-8699-A543-0DD3-D0C50757688A}"/>
              </a:ext>
            </a:extLst>
          </p:cNvPr>
          <p:cNvGraphicFramePr>
            <a:graphicFrameLocks/>
          </p:cNvGraphicFramePr>
          <p:nvPr/>
        </p:nvGraphicFramePr>
        <p:xfrm>
          <a:off x="5802077" y="1630449"/>
          <a:ext cx="6263985" cy="39974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8479">
                  <a:extLst>
                    <a:ext uri="{9D8B030D-6E8A-4147-A177-3AD203B41FA5}">
                      <a16:colId xmlns:a16="http://schemas.microsoft.com/office/drawing/2014/main" val="1714412840"/>
                    </a:ext>
                  </a:extLst>
                </a:gridCol>
                <a:gridCol w="823699">
                  <a:extLst>
                    <a:ext uri="{9D8B030D-6E8A-4147-A177-3AD203B41FA5}">
                      <a16:colId xmlns:a16="http://schemas.microsoft.com/office/drawing/2014/main" val="3025547228"/>
                    </a:ext>
                  </a:extLst>
                </a:gridCol>
                <a:gridCol w="823699">
                  <a:extLst>
                    <a:ext uri="{9D8B030D-6E8A-4147-A177-3AD203B41FA5}">
                      <a16:colId xmlns:a16="http://schemas.microsoft.com/office/drawing/2014/main" val="3814741461"/>
                    </a:ext>
                  </a:extLst>
                </a:gridCol>
                <a:gridCol w="774054">
                  <a:extLst>
                    <a:ext uri="{9D8B030D-6E8A-4147-A177-3AD203B41FA5}">
                      <a16:colId xmlns:a16="http://schemas.microsoft.com/office/drawing/2014/main" val="1415950296"/>
                    </a:ext>
                  </a:extLst>
                </a:gridCol>
                <a:gridCol w="774054">
                  <a:extLst>
                    <a:ext uri="{9D8B030D-6E8A-4147-A177-3AD203B41FA5}">
                      <a16:colId xmlns:a16="http://schemas.microsoft.com/office/drawing/2014/main" val="3820136650"/>
                    </a:ext>
                  </a:extLst>
                </a:gridCol>
              </a:tblGrid>
              <a:tr h="289687">
                <a:tc rowSpan="2">
                  <a:txBody>
                    <a:bodyPr/>
                    <a:lstStyle/>
                    <a:p>
                      <a:pPr algn="l"/>
                      <a:r>
                        <a:rPr lang="en-US" sz="1050" dirty="0">
                          <a:solidFill>
                            <a:schemeClr val="tx1"/>
                          </a:solidFill>
                          <a:latin typeface="+mn-lt"/>
                        </a:rPr>
                        <a:t>Prior treatments, n (%)</a:t>
                      </a:r>
                      <a:endParaRPr lang="en-US" sz="105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en-US" sz="1050" b="1">
                          <a:solidFill>
                            <a:schemeClr val="tx1"/>
                          </a:solidFill>
                          <a:latin typeface="+mn-lt"/>
                        </a:rPr>
                        <a:t>ITT population</a:t>
                      </a:r>
                      <a:endParaRPr lang="en-US" sz="1050" b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8394126"/>
                  </a:ext>
                </a:extLst>
              </a:tr>
              <a:tr h="289687">
                <a:tc vMerge="1">
                  <a:txBody>
                    <a:bodyPr/>
                    <a:lstStyle/>
                    <a:p>
                      <a:endParaRPr lang="en-US" sz="140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050" b="1" err="1">
                          <a:solidFill>
                            <a:schemeClr val="bg1"/>
                          </a:solidFill>
                          <a:latin typeface="+mn-lt"/>
                        </a:rPr>
                        <a:t>BPd</a:t>
                      </a:r>
                      <a:r>
                        <a:rPr lang="en-US" sz="1050" b="1">
                          <a:solidFill>
                            <a:schemeClr val="bg1"/>
                          </a:solidFill>
                          <a:latin typeface="+mn-lt"/>
                        </a:rPr>
                        <a:t> (N=155)</a:t>
                      </a:r>
                      <a:endParaRPr lang="en-US" sz="1050" b="1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050" b="1" err="1">
                          <a:solidFill>
                            <a:schemeClr val="bg1"/>
                          </a:solidFill>
                          <a:latin typeface="+mn-lt"/>
                        </a:rPr>
                        <a:t>PVd</a:t>
                      </a:r>
                      <a:r>
                        <a:rPr lang="en-US" sz="1050" b="1">
                          <a:solidFill>
                            <a:schemeClr val="bg1"/>
                          </a:solidFill>
                          <a:latin typeface="+mn-lt"/>
                        </a:rPr>
                        <a:t> (N=147)</a:t>
                      </a:r>
                      <a:endParaRPr lang="en-US" sz="1050" b="1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332177"/>
                  </a:ext>
                </a:extLst>
              </a:tr>
              <a:tr h="260718">
                <a:tc>
                  <a:txBody>
                    <a:bodyPr/>
                    <a:lstStyle/>
                    <a:p>
                      <a:pPr algn="l"/>
                      <a:r>
                        <a:rPr lang="en-US" sz="1050" b="1">
                          <a:solidFill>
                            <a:schemeClr val="tx1"/>
                          </a:solidFill>
                          <a:latin typeface="+mn-lt"/>
                        </a:rPr>
                        <a:t>Prior LOT</a:t>
                      </a:r>
                      <a:endParaRPr lang="en-US" sz="1050" b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en-US" sz="1050">
                        <a:solidFill>
                          <a:srgbClr val="FF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US" sz="1050">
                        <a:solidFill>
                          <a:srgbClr val="FF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4110689"/>
                  </a:ext>
                </a:extLst>
              </a:tr>
              <a:tr h="614197">
                <a:tc>
                  <a:txBody>
                    <a:bodyPr/>
                    <a:lstStyle/>
                    <a:p>
                      <a:pPr marL="396875" indent="0" algn="l"/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1  </a:t>
                      </a:r>
                    </a:p>
                    <a:p>
                      <a:pPr marL="396875" indent="0" algn="l"/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2 or 3 </a:t>
                      </a:r>
                    </a:p>
                    <a:p>
                      <a:pPr marL="396875" indent="0" algn="l"/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≥4</a:t>
                      </a:r>
                      <a:endParaRPr lang="en-US" sz="105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2 (53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4 (35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 (12)</a:t>
                      </a:r>
                      <a:endParaRPr lang="en-US" sz="1050" b="0" kern="10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7 (52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8 (33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 (15)</a:t>
                      </a:r>
                      <a:endParaRPr lang="en-US" sz="1050" b="0" kern="10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3683877"/>
                  </a:ext>
                </a:extLst>
              </a:tr>
              <a:tr h="2607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Prior ASCT</a:t>
                      </a:r>
                      <a:endParaRPr lang="en-US" sz="105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  <a:latin typeface="+mn-lt"/>
                        </a:rPr>
                        <a:t>99 (64)</a:t>
                      </a:r>
                      <a:endParaRPr lang="en-US" sz="105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  <a:latin typeface="+mn-lt"/>
                        </a:rPr>
                        <a:t>82 (56)</a:t>
                      </a:r>
                      <a:endParaRPr lang="en-US" sz="105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656468"/>
                  </a:ext>
                </a:extLst>
              </a:tr>
              <a:tr h="260718">
                <a:tc>
                  <a:txBody>
                    <a:bodyPr/>
                    <a:lstStyle/>
                    <a:p>
                      <a:pPr algn="l"/>
                      <a:r>
                        <a:rPr lang="en-US" sz="1050" b="1">
                          <a:solidFill>
                            <a:schemeClr val="tx1"/>
                          </a:solidFill>
                          <a:latin typeface="+mn-lt"/>
                        </a:rPr>
                        <a:t>Prior treatment</a:t>
                      </a:r>
                      <a:endParaRPr lang="en-US" sz="1050" b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  <a:latin typeface="+mn-lt"/>
                        </a:rPr>
                        <a:t>Exposed</a:t>
                      </a:r>
                      <a:endParaRPr lang="en-US" sz="1050" b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  <a:latin typeface="+mn-lt"/>
                        </a:rPr>
                        <a:t>Refractory</a:t>
                      </a:r>
                      <a:endParaRPr lang="en-US" sz="1050" b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  <a:latin typeface="+mn-lt"/>
                        </a:rPr>
                        <a:t>Exposed</a:t>
                      </a:r>
                      <a:endParaRPr lang="en-US" sz="1050" b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chemeClr val="tx1"/>
                          </a:solidFill>
                          <a:latin typeface="+mn-lt"/>
                        </a:rPr>
                        <a:t>Refractory</a:t>
                      </a:r>
                      <a:endParaRPr lang="en-US" sz="1050" b="1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3295080"/>
                  </a:ext>
                </a:extLst>
              </a:tr>
              <a:tr h="7933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Prior proteasome inhibitor  </a:t>
                      </a:r>
                    </a:p>
                    <a:p>
                      <a:pPr marL="3968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Bortezomib</a:t>
                      </a:r>
                    </a:p>
                    <a:p>
                      <a:pPr marL="3968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Carfilzomib </a:t>
                      </a:r>
                    </a:p>
                    <a:p>
                      <a:pPr marL="3968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 err="1">
                          <a:solidFill>
                            <a:schemeClr val="tx1"/>
                          </a:solidFill>
                          <a:latin typeface="+mn-lt"/>
                        </a:rPr>
                        <a:t>Ixazomib</a:t>
                      </a:r>
                      <a:endParaRPr lang="en-US" sz="105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  <a:latin typeface="+mn-lt"/>
                        </a:rPr>
                        <a:t>140 (90)</a:t>
                      </a:r>
                      <a:endParaRPr lang="en-GB" sz="1050" b="0" kern="10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4 (86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4 (22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 (7) </a:t>
                      </a:r>
                      <a:endParaRPr lang="en-US" sz="1050" b="0" kern="10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  <a:latin typeface="+mn-lt"/>
                        </a:rPr>
                        <a:t>40 (26)</a:t>
                      </a:r>
                      <a:endParaRPr lang="en-GB" sz="1050" b="0" kern="10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6 (10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 (12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 (5)</a:t>
                      </a:r>
                      <a:endParaRPr lang="en-US" sz="1050" b="0" kern="10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  <a:latin typeface="+mn-lt"/>
                        </a:rPr>
                        <a:t>136 (93) </a:t>
                      </a:r>
                      <a:endParaRPr lang="en-GB" sz="1050" b="0" kern="10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0 (88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7 (25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 (10)</a:t>
                      </a:r>
                      <a:endParaRPr lang="en-US" sz="1050" b="0" kern="10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  <a:latin typeface="+mn-lt"/>
                        </a:rPr>
                        <a:t>35 (24)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 (5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 (16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0" kern="1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 (7)</a:t>
                      </a:r>
                      <a:endParaRPr lang="en-US" sz="1050" b="0" kern="10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6219033"/>
                  </a:ext>
                </a:extLst>
              </a:tr>
              <a:tr h="6141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Prior immunomodulatory </a:t>
                      </a:r>
                      <a:r>
                        <a:rPr lang="en-US" sz="1050" b="1" dirty="0" err="1">
                          <a:solidFill>
                            <a:schemeClr val="tx1"/>
                          </a:solidFill>
                          <a:latin typeface="+mn-lt"/>
                        </a:rPr>
                        <a:t>drug</a:t>
                      </a:r>
                      <a:r>
                        <a:rPr lang="en-US" sz="1050" b="1" baseline="30000" dirty="0" err="1">
                          <a:solidFill>
                            <a:schemeClr val="tx1"/>
                          </a:solidFill>
                          <a:latin typeface="+mn-lt"/>
                        </a:rPr>
                        <a:t>a</a:t>
                      </a: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  </a:t>
                      </a:r>
                    </a:p>
                    <a:p>
                      <a:pPr marL="3968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u="sng" dirty="0">
                          <a:solidFill>
                            <a:schemeClr val="tx1"/>
                          </a:solidFill>
                          <a:latin typeface="+mn-lt"/>
                        </a:rPr>
                        <a:t>Lenalidomide</a:t>
                      </a:r>
                    </a:p>
                    <a:p>
                      <a:pPr marL="3968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Thalidomide</a:t>
                      </a:r>
                      <a:endParaRPr lang="en-US" sz="105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155 (100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u="sng" dirty="0">
                          <a:solidFill>
                            <a:schemeClr val="tx1"/>
                          </a:solidFill>
                          <a:latin typeface="+mn-lt"/>
                        </a:rPr>
                        <a:t>155 (100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49 (32)</a:t>
                      </a:r>
                      <a:endParaRPr lang="en-US" sz="105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127 (82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u="sng" dirty="0">
                          <a:solidFill>
                            <a:schemeClr val="tx1"/>
                          </a:solidFill>
                          <a:latin typeface="+mn-lt"/>
                        </a:rPr>
                        <a:t>125 (81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9 (6)</a:t>
                      </a:r>
                      <a:endParaRPr lang="en-US" sz="105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147 (100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147 (100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48 (33)</a:t>
                      </a:r>
                      <a:endParaRPr lang="en-US" sz="105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  <a:latin typeface="+mn-lt"/>
                        </a:rPr>
                        <a:t>111 (76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  <a:latin typeface="+mn-lt"/>
                        </a:rPr>
                        <a:t>111 (76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>
                          <a:solidFill>
                            <a:schemeClr val="tx1"/>
                          </a:solidFill>
                          <a:latin typeface="+mn-lt"/>
                        </a:rPr>
                        <a:t>6 (4)</a:t>
                      </a:r>
                      <a:endParaRPr lang="en-US" sz="1050" b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229290"/>
                  </a:ext>
                </a:extLst>
              </a:tr>
              <a:tr h="6141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Prior anti-CD38 monoclonal </a:t>
                      </a:r>
                      <a:r>
                        <a:rPr lang="en-US" sz="1050" b="1" dirty="0" err="1">
                          <a:solidFill>
                            <a:schemeClr val="tx1"/>
                          </a:solidFill>
                          <a:latin typeface="+mn-lt"/>
                        </a:rPr>
                        <a:t>antibody</a:t>
                      </a:r>
                      <a:r>
                        <a:rPr lang="en-US" sz="1050" b="1" baseline="30000" dirty="0" err="1">
                          <a:solidFill>
                            <a:schemeClr val="tx1"/>
                          </a:solidFill>
                          <a:latin typeface="+mn-lt"/>
                        </a:rPr>
                        <a:t>b</a:t>
                      </a: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  </a:t>
                      </a:r>
                    </a:p>
                    <a:p>
                      <a:pPr marL="3968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Daratumumab</a:t>
                      </a:r>
                    </a:p>
                    <a:p>
                      <a:pPr marL="3968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 err="1">
                          <a:solidFill>
                            <a:schemeClr val="tx1"/>
                          </a:solidFill>
                          <a:latin typeface="+mn-lt"/>
                        </a:rPr>
                        <a:t>Isatuximab</a:t>
                      </a:r>
                      <a:endParaRPr lang="en-US" sz="105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38 (25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36 (23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2 (1)</a:t>
                      </a:r>
                      <a:endParaRPr lang="en-US" sz="105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35 (23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33 (21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2 (1)</a:t>
                      </a:r>
                      <a:endParaRPr lang="en-US" sz="105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42 (29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39 (27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3 (2)</a:t>
                      </a:r>
                      <a:endParaRPr lang="en-US" sz="105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36 (24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34 (23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2 (1)</a:t>
                      </a:r>
                      <a:endParaRPr lang="en-US" sz="1050" b="1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6701624"/>
                  </a:ext>
                </a:extLst>
              </a:tr>
            </a:tbl>
          </a:graphicData>
        </a:graphic>
      </p:graphicFrame>
      <p:sp>
        <p:nvSpPr>
          <p:cNvPr id="7" name="Ορθογώνιο 6">
            <a:extLst>
              <a:ext uri="{FF2B5EF4-FFF2-40B4-BE49-F238E27FC236}">
                <a16:creationId xmlns:a16="http://schemas.microsoft.com/office/drawing/2014/main" id="{AC093775-3ABD-9674-3D8B-E519419A7BFB}"/>
              </a:ext>
            </a:extLst>
          </p:cNvPr>
          <p:cNvSpPr/>
          <p:nvPr/>
        </p:nvSpPr>
        <p:spPr>
          <a:xfrm>
            <a:off x="5802077" y="4387273"/>
            <a:ext cx="6263985" cy="1240633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object 37">
            <a:extLst>
              <a:ext uri="{FF2B5EF4-FFF2-40B4-BE49-F238E27FC236}">
                <a16:creationId xmlns:a16="http://schemas.microsoft.com/office/drawing/2014/main" id="{F3E1DB44-4621-2C14-35EB-DEA4B6D8B8FE}"/>
              </a:ext>
            </a:extLst>
          </p:cNvPr>
          <p:cNvSpPr txBox="1"/>
          <p:nvPr/>
        </p:nvSpPr>
        <p:spPr>
          <a:xfrm>
            <a:off x="179168" y="6611870"/>
            <a:ext cx="11875941" cy="145339"/>
          </a:xfrm>
          <a:prstGeom prst="rect">
            <a:avLst/>
          </a:prstGeom>
        </p:spPr>
        <p:txBody>
          <a:bodyPr vert="horz" wrap="square" lIns="0" tIns="6773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mopoulo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A, et al.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N Engl J Med. 2024 Aug 1;391(5):408-421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DF98520-7F76-34D6-208B-702DB74E5A80}"/>
              </a:ext>
            </a:extLst>
          </p:cNvPr>
          <p:cNvSpPr txBox="1"/>
          <p:nvPr/>
        </p:nvSpPr>
        <p:spPr>
          <a:xfrm>
            <a:off x="144966" y="6490010"/>
            <a:ext cx="33927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Thanos C Dimopoulos, MD</a:t>
            </a:r>
          </a:p>
        </p:txBody>
      </p:sp>
    </p:spTree>
    <p:extLst>
      <p:ext uri="{BB962C8B-B14F-4D97-AF65-F5344CB8AC3E}">
        <p14:creationId xmlns:p14="http://schemas.microsoft.com/office/powerpoint/2010/main" val="3394922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E09484B-7A5C-0A2B-3DAC-EABC92A0A19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65125" y="5877272"/>
            <a:ext cx="9505950" cy="522287"/>
          </a:xfrm>
        </p:spPr>
        <p:txBody>
          <a:bodyPr/>
          <a:lstStyle/>
          <a:p>
            <a:r>
              <a:rPr lang="en-US" sz="800" dirty="0">
                <a:latin typeface="+mn-lt"/>
              </a:rPr>
              <a:t>Median follow-up, 21.8 months (range, 0.03-39.23 months).</a:t>
            </a:r>
            <a:br>
              <a:rPr lang="en-US" sz="800" dirty="0">
                <a:latin typeface="+mn-lt"/>
              </a:rPr>
            </a:br>
            <a:r>
              <a:rPr lang="en-US" sz="800" dirty="0">
                <a:latin typeface="+mn-lt"/>
              </a:rPr>
              <a:t>The treatment effect (HR and corresponding 95% CIs) was estimated using the stratified Cox proportional hazards model, and the </a:t>
            </a:r>
            <a:r>
              <a:rPr lang="en-US" sz="800" i="1" dirty="0">
                <a:latin typeface="+mn-lt"/>
              </a:rPr>
              <a:t>P</a:t>
            </a:r>
            <a:r>
              <a:rPr lang="en-US" sz="800" dirty="0">
                <a:latin typeface="+mn-lt"/>
              </a:rPr>
              <a:t> value was produced based on the 1-sided stratified log-rank test. Stratified analyses were adjusted for number of prior lines of therapy and prior bortezomib use.</a:t>
            </a:r>
            <a:br>
              <a:rPr lang="en-US" sz="800" dirty="0">
                <a:latin typeface="+mn-lt"/>
              </a:rPr>
            </a:br>
            <a:r>
              <a:rPr lang="en-US" sz="800" dirty="0" err="1">
                <a:latin typeface="+mn-lt"/>
              </a:rPr>
              <a:t>BPd</a:t>
            </a:r>
            <a:r>
              <a:rPr lang="en-US" sz="800" dirty="0">
                <a:latin typeface="+mn-lt"/>
              </a:rPr>
              <a:t>, </a:t>
            </a:r>
            <a:r>
              <a:rPr lang="en-US" sz="800" dirty="0" err="1">
                <a:latin typeface="+mn-lt"/>
              </a:rPr>
              <a:t>belamaf</a:t>
            </a:r>
            <a:r>
              <a:rPr lang="en-US" sz="800" dirty="0">
                <a:latin typeface="+mn-lt"/>
              </a:rPr>
              <a:t>, pomalidomide, and dexamethasone; HR, hazard ratio; NR, not reported; PFS, progression-free survival; </a:t>
            </a:r>
            <a:r>
              <a:rPr lang="en-US" sz="800" dirty="0" err="1">
                <a:latin typeface="+mn-lt"/>
              </a:rPr>
              <a:t>PVd</a:t>
            </a:r>
            <a:r>
              <a:rPr lang="en-US" sz="800" dirty="0">
                <a:latin typeface="+mn-lt"/>
              </a:rPr>
              <a:t>, pomalidomide, bortezomib, and dexamethasone.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CB4789F-8032-E6A7-1A43-733316370F59}"/>
              </a:ext>
            </a:extLst>
          </p:cNvPr>
          <p:cNvSpPr/>
          <p:nvPr/>
        </p:nvSpPr>
        <p:spPr>
          <a:xfrm>
            <a:off x="953045" y="5149998"/>
            <a:ext cx="10296702" cy="567687"/>
          </a:xfrm>
          <a:prstGeom prst="round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Pd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ed to a statistically significant and clinically meaningful reduction in risk of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ease progression or death vs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Vd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HR, 0.52; 95% CI, 0.37-0.73; 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.001)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48E23C35-B2B4-4E1F-300E-8C9030AB5ECD}"/>
              </a:ext>
            </a:extLst>
          </p:cNvPr>
          <p:cNvGraphicFramePr>
            <a:graphicFrameLocks noGrp="1"/>
          </p:cNvGraphicFramePr>
          <p:nvPr/>
        </p:nvGraphicFramePr>
        <p:xfrm>
          <a:off x="7305330" y="891224"/>
          <a:ext cx="4023360" cy="11842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0013">
                  <a:extLst>
                    <a:ext uri="{9D8B030D-6E8A-4147-A177-3AD203B41FA5}">
                      <a16:colId xmlns:a16="http://schemas.microsoft.com/office/drawing/2014/main" val="3081046418"/>
                    </a:ext>
                  </a:extLst>
                </a:gridCol>
                <a:gridCol w="988131">
                  <a:extLst>
                    <a:ext uri="{9D8B030D-6E8A-4147-A177-3AD203B41FA5}">
                      <a16:colId xmlns:a16="http://schemas.microsoft.com/office/drawing/2014/main" val="2200667277"/>
                    </a:ext>
                  </a:extLst>
                </a:gridCol>
                <a:gridCol w="1205216">
                  <a:extLst>
                    <a:ext uri="{9D8B030D-6E8A-4147-A177-3AD203B41FA5}">
                      <a16:colId xmlns:a16="http://schemas.microsoft.com/office/drawing/2014/main" val="2764920985"/>
                    </a:ext>
                  </a:extLst>
                </a:gridCol>
              </a:tblGrid>
              <a:tr h="296051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PFS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>
                          <a:solidFill>
                            <a:schemeClr val="bg1"/>
                          </a:solidFill>
                          <a:latin typeface="+mj-lt"/>
                        </a:rPr>
                        <a:t>BPd</a:t>
                      </a:r>
                      <a:r>
                        <a:rPr lang="en-US" sz="1000" dirty="0">
                          <a:solidFill>
                            <a:schemeClr val="bg1"/>
                          </a:solidFill>
                          <a:latin typeface="+mj-lt"/>
                        </a:rPr>
                        <a:t> (N=155)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>
                          <a:solidFill>
                            <a:schemeClr val="bg1"/>
                          </a:solidFill>
                          <a:latin typeface="+mj-lt"/>
                        </a:rPr>
                        <a:t>PVd</a:t>
                      </a:r>
                      <a:r>
                        <a:rPr lang="en-US" sz="1000" dirty="0">
                          <a:solidFill>
                            <a:schemeClr val="bg1"/>
                          </a:solidFill>
                          <a:latin typeface="+mj-lt"/>
                        </a:rPr>
                        <a:t> (N=147)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2892191"/>
                  </a:ext>
                </a:extLst>
              </a:tr>
              <a:tr h="296051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Events, n (%)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accent1"/>
                          </a:solidFill>
                          <a:latin typeface="+mj-lt"/>
                        </a:rPr>
                        <a:t>62 (40)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j-lt"/>
                        </a:rPr>
                        <a:t>80 (54)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7598445"/>
                  </a:ext>
                </a:extLst>
              </a:tr>
              <a:tr h="296051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Median PFS (95% CI), months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accent1"/>
                          </a:solidFill>
                          <a:latin typeface="+mj-lt"/>
                        </a:rPr>
                        <a:t>NR</a:t>
                      </a:r>
                      <a:r>
                        <a:rPr lang="en-US" sz="1000" dirty="0">
                          <a:solidFill>
                            <a:schemeClr val="accent1"/>
                          </a:solidFill>
                          <a:latin typeface="+mj-lt"/>
                        </a:rPr>
                        <a:t> (20.6-NR)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j-lt"/>
                        </a:rPr>
                        <a:t>12.7</a:t>
                      </a:r>
                      <a:r>
                        <a:rPr lang="en-US" sz="10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j-lt"/>
                        </a:rPr>
                        <a:t> (9.1-18.5)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9782177"/>
                  </a:ext>
                </a:extLst>
              </a:tr>
              <a:tr h="296051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HR (95% CI); </a:t>
                      </a:r>
                      <a:r>
                        <a:rPr lang="en-US" sz="1000" i="1" dirty="0">
                          <a:solidFill>
                            <a:schemeClr val="tx1"/>
                          </a:solidFill>
                          <a:latin typeface="+mj-lt"/>
                        </a:rPr>
                        <a:t>P </a:t>
                      </a: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+mj-lt"/>
                        </a:rPr>
                        <a:t>value</a:t>
                      </a:r>
                      <a:endParaRPr lang="en-US" sz="1000" i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+mj-lt"/>
                        </a:rPr>
                        <a:t>0.52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</a:rPr>
                        <a:t> (0.37-0.73); </a:t>
                      </a: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&lt;.001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98115"/>
                  </a:ext>
                </a:extLst>
              </a:tr>
            </a:tbl>
          </a:graphicData>
        </a:graphic>
      </p:graphicFrame>
      <p:sp>
        <p:nvSpPr>
          <p:cNvPr id="16" name="Freeform 11">
            <a:extLst>
              <a:ext uri="{FF2B5EF4-FFF2-40B4-BE49-F238E27FC236}">
                <a16:creationId xmlns:a16="http://schemas.microsoft.com/office/drawing/2014/main" id="{0D9C626E-B290-5A99-7152-175B00DC2178}"/>
              </a:ext>
            </a:extLst>
          </p:cNvPr>
          <p:cNvSpPr/>
          <p:nvPr/>
        </p:nvSpPr>
        <p:spPr>
          <a:xfrm>
            <a:off x="1856876" y="1004820"/>
            <a:ext cx="9487399" cy="2795798"/>
          </a:xfrm>
          <a:custGeom>
            <a:avLst/>
            <a:gdLst>
              <a:gd name="connsiteX0" fmla="*/ 0 w 7527875"/>
              <a:gd name="connsiteY0" fmla="*/ 0 h 2579300"/>
              <a:gd name="connsiteX1" fmla="*/ 0 w 7527875"/>
              <a:gd name="connsiteY1" fmla="*/ 2579301 h 2579300"/>
              <a:gd name="connsiteX2" fmla="*/ 7527875 w 7527875"/>
              <a:gd name="connsiteY2" fmla="*/ 2579301 h 257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527875" h="2579300">
                <a:moveTo>
                  <a:pt x="0" y="0"/>
                </a:moveTo>
                <a:lnTo>
                  <a:pt x="0" y="2579301"/>
                </a:lnTo>
                <a:lnTo>
                  <a:pt x="7527875" y="2579301"/>
                </a:lnTo>
              </a:path>
            </a:pathLst>
          </a:custGeom>
          <a:noFill/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Freeform 13">
            <a:extLst>
              <a:ext uri="{FF2B5EF4-FFF2-40B4-BE49-F238E27FC236}">
                <a16:creationId xmlns:a16="http://schemas.microsoft.com/office/drawing/2014/main" id="{8D865AED-9BD6-586F-54F6-CAB94D691642}"/>
              </a:ext>
            </a:extLst>
          </p:cNvPr>
          <p:cNvSpPr/>
          <p:nvPr/>
        </p:nvSpPr>
        <p:spPr>
          <a:xfrm>
            <a:off x="10967311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Freeform 14">
            <a:extLst>
              <a:ext uri="{FF2B5EF4-FFF2-40B4-BE49-F238E27FC236}">
                <a16:creationId xmlns:a16="http://schemas.microsoft.com/office/drawing/2014/main" id="{535D4471-1205-194C-01D2-D14B7B661330}"/>
              </a:ext>
            </a:extLst>
          </p:cNvPr>
          <p:cNvSpPr/>
          <p:nvPr/>
        </p:nvSpPr>
        <p:spPr>
          <a:xfrm>
            <a:off x="10737830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Freeform 15">
            <a:extLst>
              <a:ext uri="{FF2B5EF4-FFF2-40B4-BE49-F238E27FC236}">
                <a16:creationId xmlns:a16="http://schemas.microsoft.com/office/drawing/2014/main" id="{62EDA09F-1710-075B-2B1C-E85A7C788BFF}"/>
              </a:ext>
            </a:extLst>
          </p:cNvPr>
          <p:cNvSpPr/>
          <p:nvPr/>
        </p:nvSpPr>
        <p:spPr>
          <a:xfrm>
            <a:off x="10512202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Freeform 16">
            <a:extLst>
              <a:ext uri="{FF2B5EF4-FFF2-40B4-BE49-F238E27FC236}">
                <a16:creationId xmlns:a16="http://schemas.microsoft.com/office/drawing/2014/main" id="{2D91FEB3-5FD7-0CA1-EDA4-7289361B2A4A}"/>
              </a:ext>
            </a:extLst>
          </p:cNvPr>
          <p:cNvSpPr/>
          <p:nvPr/>
        </p:nvSpPr>
        <p:spPr>
          <a:xfrm>
            <a:off x="10284372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Freeform 17">
            <a:extLst>
              <a:ext uri="{FF2B5EF4-FFF2-40B4-BE49-F238E27FC236}">
                <a16:creationId xmlns:a16="http://schemas.microsoft.com/office/drawing/2014/main" id="{83CB79E0-3779-0DFC-DEA9-3CAA74E75EA8}"/>
              </a:ext>
            </a:extLst>
          </p:cNvPr>
          <p:cNvSpPr/>
          <p:nvPr/>
        </p:nvSpPr>
        <p:spPr>
          <a:xfrm>
            <a:off x="10060944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Freeform 18">
            <a:extLst>
              <a:ext uri="{FF2B5EF4-FFF2-40B4-BE49-F238E27FC236}">
                <a16:creationId xmlns:a16="http://schemas.microsoft.com/office/drawing/2014/main" id="{869DB650-5222-0D6A-3EC7-F772A7F7AB02}"/>
              </a:ext>
            </a:extLst>
          </p:cNvPr>
          <p:cNvSpPr/>
          <p:nvPr/>
        </p:nvSpPr>
        <p:spPr>
          <a:xfrm>
            <a:off x="9830363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Freeform 19">
            <a:extLst>
              <a:ext uri="{FF2B5EF4-FFF2-40B4-BE49-F238E27FC236}">
                <a16:creationId xmlns:a16="http://schemas.microsoft.com/office/drawing/2014/main" id="{92A60C30-95AE-59E8-82DD-B103FAF0C4B6}"/>
              </a:ext>
            </a:extLst>
          </p:cNvPr>
          <p:cNvSpPr/>
          <p:nvPr/>
        </p:nvSpPr>
        <p:spPr>
          <a:xfrm>
            <a:off x="9605835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Freeform 20">
            <a:extLst>
              <a:ext uri="{FF2B5EF4-FFF2-40B4-BE49-F238E27FC236}">
                <a16:creationId xmlns:a16="http://schemas.microsoft.com/office/drawing/2014/main" id="{8CE66CC9-56DD-AFCA-B023-FF81B4AD40D2}"/>
              </a:ext>
            </a:extLst>
          </p:cNvPr>
          <p:cNvSpPr/>
          <p:nvPr/>
        </p:nvSpPr>
        <p:spPr>
          <a:xfrm>
            <a:off x="9376905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Freeform 21">
            <a:extLst>
              <a:ext uri="{FF2B5EF4-FFF2-40B4-BE49-F238E27FC236}">
                <a16:creationId xmlns:a16="http://schemas.microsoft.com/office/drawing/2014/main" id="{00BB885F-3F56-97F1-BB77-85144AFCE5B9}"/>
              </a:ext>
            </a:extLst>
          </p:cNvPr>
          <p:cNvSpPr/>
          <p:nvPr/>
        </p:nvSpPr>
        <p:spPr>
          <a:xfrm>
            <a:off x="9149626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Freeform 22">
            <a:extLst>
              <a:ext uri="{FF2B5EF4-FFF2-40B4-BE49-F238E27FC236}">
                <a16:creationId xmlns:a16="http://schemas.microsoft.com/office/drawing/2014/main" id="{CD18114C-CD03-0586-91D2-B4407354BAFE}"/>
              </a:ext>
            </a:extLst>
          </p:cNvPr>
          <p:cNvSpPr/>
          <p:nvPr/>
        </p:nvSpPr>
        <p:spPr>
          <a:xfrm>
            <a:off x="8920696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Freeform 23">
            <a:extLst>
              <a:ext uri="{FF2B5EF4-FFF2-40B4-BE49-F238E27FC236}">
                <a16:creationId xmlns:a16="http://schemas.microsoft.com/office/drawing/2014/main" id="{A490AD2D-A402-A005-C452-2B2BA94F5A93}"/>
              </a:ext>
            </a:extLst>
          </p:cNvPr>
          <p:cNvSpPr/>
          <p:nvPr/>
        </p:nvSpPr>
        <p:spPr>
          <a:xfrm>
            <a:off x="8695619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Freeform 24">
            <a:extLst>
              <a:ext uri="{FF2B5EF4-FFF2-40B4-BE49-F238E27FC236}">
                <a16:creationId xmlns:a16="http://schemas.microsoft.com/office/drawing/2014/main" id="{77F96FAE-4E9A-2EDF-21DA-7DA1BB461A75}"/>
              </a:ext>
            </a:extLst>
          </p:cNvPr>
          <p:cNvSpPr/>
          <p:nvPr/>
        </p:nvSpPr>
        <p:spPr>
          <a:xfrm>
            <a:off x="8468889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Freeform 25">
            <a:extLst>
              <a:ext uri="{FF2B5EF4-FFF2-40B4-BE49-F238E27FC236}">
                <a16:creationId xmlns:a16="http://schemas.microsoft.com/office/drawing/2014/main" id="{FAECF101-92BB-99B1-2571-477BB6F49E52}"/>
              </a:ext>
            </a:extLst>
          </p:cNvPr>
          <p:cNvSpPr/>
          <p:nvPr/>
        </p:nvSpPr>
        <p:spPr>
          <a:xfrm>
            <a:off x="8241059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Freeform 26">
            <a:extLst>
              <a:ext uri="{FF2B5EF4-FFF2-40B4-BE49-F238E27FC236}">
                <a16:creationId xmlns:a16="http://schemas.microsoft.com/office/drawing/2014/main" id="{9DA19BF6-EAE6-3DC7-9730-139DDAC08BE7}"/>
              </a:ext>
            </a:extLst>
          </p:cNvPr>
          <p:cNvSpPr/>
          <p:nvPr/>
        </p:nvSpPr>
        <p:spPr>
          <a:xfrm>
            <a:off x="8015431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Freeform 27">
            <a:extLst>
              <a:ext uri="{FF2B5EF4-FFF2-40B4-BE49-F238E27FC236}">
                <a16:creationId xmlns:a16="http://schemas.microsoft.com/office/drawing/2014/main" id="{FE13BE0A-9EE6-041A-20DC-E7167CF79E71}"/>
              </a:ext>
            </a:extLst>
          </p:cNvPr>
          <p:cNvSpPr/>
          <p:nvPr/>
        </p:nvSpPr>
        <p:spPr>
          <a:xfrm>
            <a:off x="7789252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Freeform 28">
            <a:extLst>
              <a:ext uri="{FF2B5EF4-FFF2-40B4-BE49-F238E27FC236}">
                <a16:creationId xmlns:a16="http://schemas.microsoft.com/office/drawing/2014/main" id="{55931E34-9111-BDB6-B1FB-43C7AF241C4F}"/>
              </a:ext>
            </a:extLst>
          </p:cNvPr>
          <p:cNvSpPr/>
          <p:nvPr/>
        </p:nvSpPr>
        <p:spPr>
          <a:xfrm>
            <a:off x="7560872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Freeform 29">
            <a:extLst>
              <a:ext uri="{FF2B5EF4-FFF2-40B4-BE49-F238E27FC236}">
                <a16:creationId xmlns:a16="http://schemas.microsoft.com/office/drawing/2014/main" id="{6D5FB460-1D56-D1CD-93D1-F6D8613E465B}"/>
              </a:ext>
            </a:extLst>
          </p:cNvPr>
          <p:cNvSpPr/>
          <p:nvPr/>
        </p:nvSpPr>
        <p:spPr>
          <a:xfrm>
            <a:off x="7332492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Freeform 30">
            <a:extLst>
              <a:ext uri="{FF2B5EF4-FFF2-40B4-BE49-F238E27FC236}">
                <a16:creationId xmlns:a16="http://schemas.microsoft.com/office/drawing/2014/main" id="{8FCE9590-2885-00AD-675F-B3C58CE86FF7}"/>
              </a:ext>
            </a:extLst>
          </p:cNvPr>
          <p:cNvSpPr/>
          <p:nvPr/>
        </p:nvSpPr>
        <p:spPr>
          <a:xfrm>
            <a:off x="7108515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Freeform 31">
            <a:extLst>
              <a:ext uri="{FF2B5EF4-FFF2-40B4-BE49-F238E27FC236}">
                <a16:creationId xmlns:a16="http://schemas.microsoft.com/office/drawing/2014/main" id="{AF981121-EA97-F25D-A712-1800D6702D95}"/>
              </a:ext>
            </a:extLst>
          </p:cNvPr>
          <p:cNvSpPr/>
          <p:nvPr/>
        </p:nvSpPr>
        <p:spPr>
          <a:xfrm>
            <a:off x="6880135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Freeform 32">
            <a:extLst>
              <a:ext uri="{FF2B5EF4-FFF2-40B4-BE49-F238E27FC236}">
                <a16:creationId xmlns:a16="http://schemas.microsoft.com/office/drawing/2014/main" id="{9393F13B-DAAD-87D0-7E4D-F3827B0A9108}"/>
              </a:ext>
            </a:extLst>
          </p:cNvPr>
          <p:cNvSpPr/>
          <p:nvPr/>
        </p:nvSpPr>
        <p:spPr>
          <a:xfrm>
            <a:off x="6653956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Freeform 33">
            <a:extLst>
              <a:ext uri="{FF2B5EF4-FFF2-40B4-BE49-F238E27FC236}">
                <a16:creationId xmlns:a16="http://schemas.microsoft.com/office/drawing/2014/main" id="{A861C74F-BE2A-AADE-0ABA-466E3A51A101}"/>
              </a:ext>
            </a:extLst>
          </p:cNvPr>
          <p:cNvSpPr/>
          <p:nvPr/>
        </p:nvSpPr>
        <p:spPr>
          <a:xfrm>
            <a:off x="6425026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Freeform 34">
            <a:extLst>
              <a:ext uri="{FF2B5EF4-FFF2-40B4-BE49-F238E27FC236}">
                <a16:creationId xmlns:a16="http://schemas.microsoft.com/office/drawing/2014/main" id="{E03A6CDF-0B71-0066-6400-16B9E1BBE9D0}"/>
              </a:ext>
            </a:extLst>
          </p:cNvPr>
          <p:cNvSpPr/>
          <p:nvPr/>
        </p:nvSpPr>
        <p:spPr>
          <a:xfrm>
            <a:off x="6199948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Freeform 35">
            <a:extLst>
              <a:ext uri="{FF2B5EF4-FFF2-40B4-BE49-F238E27FC236}">
                <a16:creationId xmlns:a16="http://schemas.microsoft.com/office/drawing/2014/main" id="{760A5E9C-2452-CD26-275B-8759C85421B9}"/>
              </a:ext>
            </a:extLst>
          </p:cNvPr>
          <p:cNvSpPr/>
          <p:nvPr/>
        </p:nvSpPr>
        <p:spPr>
          <a:xfrm>
            <a:off x="5972118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Freeform 36">
            <a:extLst>
              <a:ext uri="{FF2B5EF4-FFF2-40B4-BE49-F238E27FC236}">
                <a16:creationId xmlns:a16="http://schemas.microsoft.com/office/drawing/2014/main" id="{546876D6-1AB9-CCC8-AE70-FC3AE8A84A41}"/>
              </a:ext>
            </a:extLst>
          </p:cNvPr>
          <p:cNvSpPr/>
          <p:nvPr/>
        </p:nvSpPr>
        <p:spPr>
          <a:xfrm>
            <a:off x="5746490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Freeform 37">
            <a:extLst>
              <a:ext uri="{FF2B5EF4-FFF2-40B4-BE49-F238E27FC236}">
                <a16:creationId xmlns:a16="http://schemas.microsoft.com/office/drawing/2014/main" id="{1CD569E9-E4D8-1389-3A3B-5D92062A8CA1}"/>
              </a:ext>
            </a:extLst>
          </p:cNvPr>
          <p:cNvSpPr/>
          <p:nvPr/>
        </p:nvSpPr>
        <p:spPr>
          <a:xfrm>
            <a:off x="5515358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Freeform 38">
            <a:extLst>
              <a:ext uri="{FF2B5EF4-FFF2-40B4-BE49-F238E27FC236}">
                <a16:creationId xmlns:a16="http://schemas.microsoft.com/office/drawing/2014/main" id="{8E121088-3DE0-6995-4D19-E6ECEFCEECBC}"/>
              </a:ext>
            </a:extLst>
          </p:cNvPr>
          <p:cNvSpPr/>
          <p:nvPr/>
        </p:nvSpPr>
        <p:spPr>
          <a:xfrm>
            <a:off x="5290280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Freeform 39">
            <a:extLst>
              <a:ext uri="{FF2B5EF4-FFF2-40B4-BE49-F238E27FC236}">
                <a16:creationId xmlns:a16="http://schemas.microsoft.com/office/drawing/2014/main" id="{D9B1DFF6-60D4-C10B-166E-160F75C5237E}"/>
              </a:ext>
            </a:extLst>
          </p:cNvPr>
          <p:cNvSpPr/>
          <p:nvPr/>
        </p:nvSpPr>
        <p:spPr>
          <a:xfrm>
            <a:off x="5063551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Freeform 40">
            <a:extLst>
              <a:ext uri="{FF2B5EF4-FFF2-40B4-BE49-F238E27FC236}">
                <a16:creationId xmlns:a16="http://schemas.microsoft.com/office/drawing/2014/main" id="{17D7B61E-6A4B-4C0F-A84A-1B219108E1EC}"/>
              </a:ext>
            </a:extLst>
          </p:cNvPr>
          <p:cNvSpPr/>
          <p:nvPr/>
        </p:nvSpPr>
        <p:spPr>
          <a:xfrm>
            <a:off x="4835171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Freeform 41">
            <a:extLst>
              <a:ext uri="{FF2B5EF4-FFF2-40B4-BE49-F238E27FC236}">
                <a16:creationId xmlns:a16="http://schemas.microsoft.com/office/drawing/2014/main" id="{558662B7-6239-4011-598E-BC3F693EBDAE}"/>
              </a:ext>
            </a:extLst>
          </p:cNvPr>
          <p:cNvSpPr/>
          <p:nvPr/>
        </p:nvSpPr>
        <p:spPr>
          <a:xfrm>
            <a:off x="4608443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Freeform 42">
            <a:extLst>
              <a:ext uri="{FF2B5EF4-FFF2-40B4-BE49-F238E27FC236}">
                <a16:creationId xmlns:a16="http://schemas.microsoft.com/office/drawing/2014/main" id="{031F717C-C8A5-39D9-2B41-E546A4DCF046}"/>
              </a:ext>
            </a:extLst>
          </p:cNvPr>
          <p:cNvSpPr/>
          <p:nvPr/>
        </p:nvSpPr>
        <p:spPr>
          <a:xfrm>
            <a:off x="4381713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Freeform 43">
            <a:extLst>
              <a:ext uri="{FF2B5EF4-FFF2-40B4-BE49-F238E27FC236}">
                <a16:creationId xmlns:a16="http://schemas.microsoft.com/office/drawing/2014/main" id="{67F6A81E-C4E8-492B-17AD-76EBE82BD239}"/>
              </a:ext>
            </a:extLst>
          </p:cNvPr>
          <p:cNvSpPr/>
          <p:nvPr/>
        </p:nvSpPr>
        <p:spPr>
          <a:xfrm>
            <a:off x="4154985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Freeform 44">
            <a:extLst>
              <a:ext uri="{FF2B5EF4-FFF2-40B4-BE49-F238E27FC236}">
                <a16:creationId xmlns:a16="http://schemas.microsoft.com/office/drawing/2014/main" id="{C71094F8-B2FC-E865-B8FF-3E2BFED7064E}"/>
              </a:ext>
            </a:extLst>
          </p:cNvPr>
          <p:cNvSpPr/>
          <p:nvPr/>
        </p:nvSpPr>
        <p:spPr>
          <a:xfrm>
            <a:off x="3928255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Freeform 45">
            <a:extLst>
              <a:ext uri="{FF2B5EF4-FFF2-40B4-BE49-F238E27FC236}">
                <a16:creationId xmlns:a16="http://schemas.microsoft.com/office/drawing/2014/main" id="{685EFD03-6B32-A120-964C-9512C03DABD7}"/>
              </a:ext>
            </a:extLst>
          </p:cNvPr>
          <p:cNvSpPr/>
          <p:nvPr/>
        </p:nvSpPr>
        <p:spPr>
          <a:xfrm>
            <a:off x="3701527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Freeform 46">
            <a:extLst>
              <a:ext uri="{FF2B5EF4-FFF2-40B4-BE49-F238E27FC236}">
                <a16:creationId xmlns:a16="http://schemas.microsoft.com/office/drawing/2014/main" id="{7E83FBF8-837D-CEA0-D371-433C00BE4518}"/>
              </a:ext>
            </a:extLst>
          </p:cNvPr>
          <p:cNvSpPr/>
          <p:nvPr/>
        </p:nvSpPr>
        <p:spPr>
          <a:xfrm>
            <a:off x="3472595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Freeform 47">
            <a:extLst>
              <a:ext uri="{FF2B5EF4-FFF2-40B4-BE49-F238E27FC236}">
                <a16:creationId xmlns:a16="http://schemas.microsoft.com/office/drawing/2014/main" id="{A764C2DF-7E69-258B-F257-4E3FA2418DB8}"/>
              </a:ext>
            </a:extLst>
          </p:cNvPr>
          <p:cNvSpPr/>
          <p:nvPr/>
        </p:nvSpPr>
        <p:spPr>
          <a:xfrm>
            <a:off x="3246967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Freeform 48">
            <a:extLst>
              <a:ext uri="{FF2B5EF4-FFF2-40B4-BE49-F238E27FC236}">
                <a16:creationId xmlns:a16="http://schemas.microsoft.com/office/drawing/2014/main" id="{294961D3-8D17-7D5D-2E0D-DCB5C7C58E0E}"/>
              </a:ext>
            </a:extLst>
          </p:cNvPr>
          <p:cNvSpPr/>
          <p:nvPr/>
        </p:nvSpPr>
        <p:spPr>
          <a:xfrm>
            <a:off x="3018588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Freeform 49">
            <a:extLst>
              <a:ext uri="{FF2B5EF4-FFF2-40B4-BE49-F238E27FC236}">
                <a16:creationId xmlns:a16="http://schemas.microsoft.com/office/drawing/2014/main" id="{DEBF4355-03C3-DC33-141E-B11E4F915689}"/>
              </a:ext>
            </a:extLst>
          </p:cNvPr>
          <p:cNvSpPr/>
          <p:nvPr/>
        </p:nvSpPr>
        <p:spPr>
          <a:xfrm>
            <a:off x="2791309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Freeform 50">
            <a:extLst>
              <a:ext uri="{FF2B5EF4-FFF2-40B4-BE49-F238E27FC236}">
                <a16:creationId xmlns:a16="http://schemas.microsoft.com/office/drawing/2014/main" id="{D50389E0-8F1E-1BE5-F917-FFF1D091CCD6}"/>
              </a:ext>
            </a:extLst>
          </p:cNvPr>
          <p:cNvSpPr/>
          <p:nvPr/>
        </p:nvSpPr>
        <p:spPr>
          <a:xfrm>
            <a:off x="2564579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Freeform 51">
            <a:extLst>
              <a:ext uri="{FF2B5EF4-FFF2-40B4-BE49-F238E27FC236}">
                <a16:creationId xmlns:a16="http://schemas.microsoft.com/office/drawing/2014/main" id="{C78B3E5C-FDF7-3752-CFA8-7BBB0ED10938}"/>
              </a:ext>
            </a:extLst>
          </p:cNvPr>
          <p:cNvSpPr/>
          <p:nvPr/>
        </p:nvSpPr>
        <p:spPr>
          <a:xfrm>
            <a:off x="2338400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6" name="Freeform 52">
            <a:extLst>
              <a:ext uri="{FF2B5EF4-FFF2-40B4-BE49-F238E27FC236}">
                <a16:creationId xmlns:a16="http://schemas.microsoft.com/office/drawing/2014/main" id="{14DC96E0-1025-AEEA-C80E-6D30D2A558BD}"/>
              </a:ext>
            </a:extLst>
          </p:cNvPr>
          <p:cNvSpPr/>
          <p:nvPr/>
        </p:nvSpPr>
        <p:spPr>
          <a:xfrm>
            <a:off x="2109470" y="3804059"/>
            <a:ext cx="5502" cy="49558"/>
          </a:xfrm>
          <a:custGeom>
            <a:avLst/>
            <a:gdLst>
              <a:gd name="connsiteX0" fmla="*/ 0 w 4366"/>
              <a:gd name="connsiteY0" fmla="*/ 22706 h 22705"/>
              <a:gd name="connsiteX1" fmla="*/ 0 w 4366"/>
              <a:gd name="connsiteY1" fmla="*/ 0 h 22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22705">
                <a:moveTo>
                  <a:pt x="0" y="22706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Freeform 53">
            <a:extLst>
              <a:ext uri="{FF2B5EF4-FFF2-40B4-BE49-F238E27FC236}">
                <a16:creationId xmlns:a16="http://schemas.microsoft.com/office/drawing/2014/main" id="{C457CDBA-2C3D-5E7D-34F0-5BC30E958E12}"/>
              </a:ext>
            </a:extLst>
          </p:cNvPr>
          <p:cNvSpPr/>
          <p:nvPr/>
        </p:nvSpPr>
        <p:spPr>
          <a:xfrm>
            <a:off x="1800248" y="3743822"/>
            <a:ext cx="57621" cy="4732"/>
          </a:xfrm>
          <a:custGeom>
            <a:avLst/>
            <a:gdLst>
              <a:gd name="connsiteX0" fmla="*/ 22706 w 22705"/>
              <a:gd name="connsiteY0" fmla="*/ 0 h 4366"/>
              <a:gd name="connsiteX1" fmla="*/ 0 w 22705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705" h="4366">
                <a:moveTo>
                  <a:pt x="22706" y="0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Freeform 54">
            <a:extLst>
              <a:ext uri="{FF2B5EF4-FFF2-40B4-BE49-F238E27FC236}">
                <a16:creationId xmlns:a16="http://schemas.microsoft.com/office/drawing/2014/main" id="{4514ED50-0939-AEF4-43DB-F5CE9C673C99}"/>
              </a:ext>
            </a:extLst>
          </p:cNvPr>
          <p:cNvSpPr/>
          <p:nvPr/>
        </p:nvSpPr>
        <p:spPr>
          <a:xfrm>
            <a:off x="1800248" y="3254901"/>
            <a:ext cx="57621" cy="4732"/>
          </a:xfrm>
          <a:custGeom>
            <a:avLst/>
            <a:gdLst>
              <a:gd name="connsiteX0" fmla="*/ 22706 w 22705"/>
              <a:gd name="connsiteY0" fmla="*/ 0 h 4366"/>
              <a:gd name="connsiteX1" fmla="*/ 0 w 22705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705" h="4366">
                <a:moveTo>
                  <a:pt x="22706" y="0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Freeform 55">
            <a:extLst>
              <a:ext uri="{FF2B5EF4-FFF2-40B4-BE49-F238E27FC236}">
                <a16:creationId xmlns:a16="http://schemas.microsoft.com/office/drawing/2014/main" id="{5C8081E3-76CB-688F-0829-CE8BB7A8B359}"/>
              </a:ext>
            </a:extLst>
          </p:cNvPr>
          <p:cNvSpPr/>
          <p:nvPr/>
        </p:nvSpPr>
        <p:spPr>
          <a:xfrm>
            <a:off x="1800248" y="2764559"/>
            <a:ext cx="57621" cy="4732"/>
          </a:xfrm>
          <a:custGeom>
            <a:avLst/>
            <a:gdLst>
              <a:gd name="connsiteX0" fmla="*/ 22706 w 22705"/>
              <a:gd name="connsiteY0" fmla="*/ 0 h 4366"/>
              <a:gd name="connsiteX1" fmla="*/ 0 w 22705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705" h="4366">
                <a:moveTo>
                  <a:pt x="22706" y="0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Freeform 56">
            <a:extLst>
              <a:ext uri="{FF2B5EF4-FFF2-40B4-BE49-F238E27FC236}">
                <a16:creationId xmlns:a16="http://schemas.microsoft.com/office/drawing/2014/main" id="{AA8D310F-59F3-8525-3F40-141921B029D3}"/>
              </a:ext>
            </a:extLst>
          </p:cNvPr>
          <p:cNvSpPr/>
          <p:nvPr/>
        </p:nvSpPr>
        <p:spPr>
          <a:xfrm>
            <a:off x="1800248" y="2273271"/>
            <a:ext cx="57621" cy="4732"/>
          </a:xfrm>
          <a:custGeom>
            <a:avLst/>
            <a:gdLst>
              <a:gd name="connsiteX0" fmla="*/ 22706 w 22705"/>
              <a:gd name="connsiteY0" fmla="*/ 0 h 4366"/>
              <a:gd name="connsiteX1" fmla="*/ 0 w 22705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705" h="4366">
                <a:moveTo>
                  <a:pt x="22706" y="0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Freeform 57">
            <a:extLst>
              <a:ext uri="{FF2B5EF4-FFF2-40B4-BE49-F238E27FC236}">
                <a16:creationId xmlns:a16="http://schemas.microsoft.com/office/drawing/2014/main" id="{3BB1F939-BC36-3493-D4D5-922C02C295FF}"/>
              </a:ext>
            </a:extLst>
          </p:cNvPr>
          <p:cNvSpPr/>
          <p:nvPr/>
        </p:nvSpPr>
        <p:spPr>
          <a:xfrm>
            <a:off x="1800248" y="1783402"/>
            <a:ext cx="57621" cy="4732"/>
          </a:xfrm>
          <a:custGeom>
            <a:avLst/>
            <a:gdLst>
              <a:gd name="connsiteX0" fmla="*/ 22706 w 22705"/>
              <a:gd name="connsiteY0" fmla="*/ 0 h 4366"/>
              <a:gd name="connsiteX1" fmla="*/ 0 w 22705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705" h="4366">
                <a:moveTo>
                  <a:pt x="22706" y="0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Freeform 58">
            <a:extLst>
              <a:ext uri="{FF2B5EF4-FFF2-40B4-BE49-F238E27FC236}">
                <a16:creationId xmlns:a16="http://schemas.microsoft.com/office/drawing/2014/main" id="{7F4D64E0-E287-C37C-2417-939EACF75E2F}"/>
              </a:ext>
            </a:extLst>
          </p:cNvPr>
          <p:cNvSpPr/>
          <p:nvPr/>
        </p:nvSpPr>
        <p:spPr>
          <a:xfrm>
            <a:off x="1800248" y="1292588"/>
            <a:ext cx="57621" cy="4732"/>
          </a:xfrm>
          <a:custGeom>
            <a:avLst/>
            <a:gdLst>
              <a:gd name="connsiteX0" fmla="*/ 22706 w 22705"/>
              <a:gd name="connsiteY0" fmla="*/ 0 h 4366"/>
              <a:gd name="connsiteX1" fmla="*/ 0 w 22705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705" h="4366">
                <a:moveTo>
                  <a:pt x="22706" y="0"/>
                </a:moveTo>
                <a:lnTo>
                  <a:pt x="0" y="0"/>
                </a:lnTo>
              </a:path>
            </a:pathLst>
          </a:custGeom>
          <a:ln w="12700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" name="Freeform 59">
            <a:extLst>
              <a:ext uri="{FF2B5EF4-FFF2-40B4-BE49-F238E27FC236}">
                <a16:creationId xmlns:a16="http://schemas.microsoft.com/office/drawing/2014/main" id="{AF3B788C-5BF2-2F61-AF33-F95B059F51CC}"/>
              </a:ext>
            </a:extLst>
          </p:cNvPr>
          <p:cNvSpPr/>
          <p:nvPr/>
        </p:nvSpPr>
        <p:spPr>
          <a:xfrm>
            <a:off x="2118825" y="1306314"/>
            <a:ext cx="7740153" cy="1184203"/>
          </a:xfrm>
          <a:custGeom>
            <a:avLst/>
            <a:gdLst>
              <a:gd name="connsiteX0" fmla="*/ 0 w 6141505"/>
              <a:gd name="connsiteY0" fmla="*/ 0 h 1092502"/>
              <a:gd name="connsiteX1" fmla="*/ 81654 w 6141505"/>
              <a:gd name="connsiteY1" fmla="*/ 0 h 1092502"/>
              <a:gd name="connsiteX2" fmla="*/ 81654 w 6141505"/>
              <a:gd name="connsiteY2" fmla="*/ 16593 h 1092502"/>
              <a:gd name="connsiteX3" fmla="*/ 163744 w 6141505"/>
              <a:gd name="connsiteY3" fmla="*/ 16593 h 1092502"/>
              <a:gd name="connsiteX4" fmla="*/ 163744 w 6141505"/>
              <a:gd name="connsiteY4" fmla="*/ 31002 h 1092502"/>
              <a:gd name="connsiteX5" fmla="*/ 172914 w 6141505"/>
              <a:gd name="connsiteY5" fmla="*/ 31002 h 1092502"/>
              <a:gd name="connsiteX6" fmla="*/ 172914 w 6141505"/>
              <a:gd name="connsiteY6" fmla="*/ 62005 h 1092502"/>
              <a:gd name="connsiteX7" fmla="*/ 184704 w 6141505"/>
              <a:gd name="connsiteY7" fmla="*/ 62005 h 1092502"/>
              <a:gd name="connsiteX8" fmla="*/ 184704 w 6141505"/>
              <a:gd name="connsiteY8" fmla="*/ 77724 h 1092502"/>
              <a:gd name="connsiteX9" fmla="*/ 254568 w 6141505"/>
              <a:gd name="connsiteY9" fmla="*/ 77724 h 1092502"/>
              <a:gd name="connsiteX10" fmla="*/ 254568 w 6141505"/>
              <a:gd name="connsiteY10" fmla="*/ 94753 h 1092502"/>
              <a:gd name="connsiteX11" fmla="*/ 323996 w 6141505"/>
              <a:gd name="connsiteY11" fmla="*/ 94753 h 1092502"/>
              <a:gd name="connsiteX12" fmla="*/ 323996 w 6141505"/>
              <a:gd name="connsiteY12" fmla="*/ 110036 h 1092502"/>
              <a:gd name="connsiteX13" fmla="*/ 337532 w 6141505"/>
              <a:gd name="connsiteY13" fmla="*/ 110036 h 1092502"/>
              <a:gd name="connsiteX14" fmla="*/ 337532 w 6141505"/>
              <a:gd name="connsiteY14" fmla="*/ 124882 h 1092502"/>
              <a:gd name="connsiteX15" fmla="*/ 348448 w 6141505"/>
              <a:gd name="connsiteY15" fmla="*/ 124882 h 1092502"/>
              <a:gd name="connsiteX16" fmla="*/ 348448 w 6141505"/>
              <a:gd name="connsiteY16" fmla="*/ 142348 h 1092502"/>
              <a:gd name="connsiteX17" fmla="*/ 355871 w 6141505"/>
              <a:gd name="connsiteY17" fmla="*/ 142348 h 1092502"/>
              <a:gd name="connsiteX18" fmla="*/ 355871 w 6141505"/>
              <a:gd name="connsiteY18" fmla="*/ 155448 h 1092502"/>
              <a:gd name="connsiteX19" fmla="*/ 479007 w 6141505"/>
              <a:gd name="connsiteY19" fmla="*/ 155448 h 1092502"/>
              <a:gd name="connsiteX20" fmla="*/ 479007 w 6141505"/>
              <a:gd name="connsiteY20" fmla="*/ 169421 h 1092502"/>
              <a:gd name="connsiteX21" fmla="*/ 489923 w 6141505"/>
              <a:gd name="connsiteY21" fmla="*/ 169421 h 1092502"/>
              <a:gd name="connsiteX22" fmla="*/ 489923 w 6141505"/>
              <a:gd name="connsiteY22" fmla="*/ 186014 h 1092502"/>
              <a:gd name="connsiteX23" fmla="*/ 497783 w 6141505"/>
              <a:gd name="connsiteY23" fmla="*/ 186014 h 1092502"/>
              <a:gd name="connsiteX24" fmla="*/ 497783 w 6141505"/>
              <a:gd name="connsiteY24" fmla="*/ 201733 h 1092502"/>
              <a:gd name="connsiteX25" fmla="*/ 509136 w 6141505"/>
              <a:gd name="connsiteY25" fmla="*/ 201733 h 1092502"/>
              <a:gd name="connsiteX26" fmla="*/ 509136 w 6141505"/>
              <a:gd name="connsiteY26" fmla="*/ 217889 h 1092502"/>
              <a:gd name="connsiteX27" fmla="*/ 537955 w 6141505"/>
              <a:gd name="connsiteY27" fmla="*/ 217889 h 1092502"/>
              <a:gd name="connsiteX28" fmla="*/ 537955 w 6141505"/>
              <a:gd name="connsiteY28" fmla="*/ 233609 h 1092502"/>
              <a:gd name="connsiteX29" fmla="*/ 626159 w 6141505"/>
              <a:gd name="connsiteY29" fmla="*/ 233609 h 1092502"/>
              <a:gd name="connsiteX30" fmla="*/ 626159 w 6141505"/>
              <a:gd name="connsiteY30" fmla="*/ 248891 h 1092502"/>
              <a:gd name="connsiteX31" fmla="*/ 667640 w 6141505"/>
              <a:gd name="connsiteY31" fmla="*/ 248891 h 1092502"/>
              <a:gd name="connsiteX32" fmla="*/ 667640 w 6141505"/>
              <a:gd name="connsiteY32" fmla="*/ 281640 h 1092502"/>
              <a:gd name="connsiteX33" fmla="*/ 723095 w 6141505"/>
              <a:gd name="connsiteY33" fmla="*/ 281640 h 1092502"/>
              <a:gd name="connsiteX34" fmla="*/ 723095 w 6141505"/>
              <a:gd name="connsiteY34" fmla="*/ 296050 h 1092502"/>
              <a:gd name="connsiteX35" fmla="*/ 782480 w 6141505"/>
              <a:gd name="connsiteY35" fmla="*/ 296050 h 1092502"/>
              <a:gd name="connsiteX36" fmla="*/ 782480 w 6141505"/>
              <a:gd name="connsiteY36" fmla="*/ 312643 h 1092502"/>
              <a:gd name="connsiteX37" fmla="*/ 995129 w 6141505"/>
              <a:gd name="connsiteY37" fmla="*/ 312643 h 1092502"/>
              <a:gd name="connsiteX38" fmla="*/ 995129 w 6141505"/>
              <a:gd name="connsiteY38" fmla="*/ 330545 h 1092502"/>
              <a:gd name="connsiteX39" fmla="*/ 1001242 w 6141505"/>
              <a:gd name="connsiteY39" fmla="*/ 330545 h 1092502"/>
              <a:gd name="connsiteX40" fmla="*/ 1001242 w 6141505"/>
              <a:gd name="connsiteY40" fmla="*/ 376394 h 1092502"/>
              <a:gd name="connsiteX41" fmla="*/ 1007792 w 6141505"/>
              <a:gd name="connsiteY41" fmla="*/ 376394 h 1092502"/>
              <a:gd name="connsiteX42" fmla="*/ 1007792 w 6141505"/>
              <a:gd name="connsiteY42" fmla="*/ 390803 h 1092502"/>
              <a:gd name="connsiteX43" fmla="*/ 1124378 w 6141505"/>
              <a:gd name="connsiteY43" fmla="*/ 390803 h 1092502"/>
              <a:gd name="connsiteX44" fmla="*/ 1124378 w 6141505"/>
              <a:gd name="connsiteY44" fmla="*/ 407833 h 1092502"/>
              <a:gd name="connsiteX45" fmla="*/ 1167170 w 6141505"/>
              <a:gd name="connsiteY45" fmla="*/ 407833 h 1092502"/>
              <a:gd name="connsiteX46" fmla="*/ 1167170 w 6141505"/>
              <a:gd name="connsiteY46" fmla="*/ 423989 h 1092502"/>
              <a:gd name="connsiteX47" fmla="*/ 1277643 w 6141505"/>
              <a:gd name="connsiteY47" fmla="*/ 423989 h 1092502"/>
              <a:gd name="connsiteX48" fmla="*/ 1277643 w 6141505"/>
              <a:gd name="connsiteY48" fmla="*/ 440145 h 1092502"/>
              <a:gd name="connsiteX49" fmla="*/ 1289432 w 6141505"/>
              <a:gd name="connsiteY49" fmla="*/ 440145 h 1092502"/>
              <a:gd name="connsiteX50" fmla="*/ 1289432 w 6141505"/>
              <a:gd name="connsiteY50" fmla="*/ 456738 h 1092502"/>
              <a:gd name="connsiteX51" fmla="*/ 1474573 w 6141505"/>
              <a:gd name="connsiteY51" fmla="*/ 456738 h 1092502"/>
              <a:gd name="connsiteX52" fmla="*/ 1474573 w 6141505"/>
              <a:gd name="connsiteY52" fmla="*/ 472457 h 1092502"/>
              <a:gd name="connsiteX53" fmla="*/ 1490292 w 6141505"/>
              <a:gd name="connsiteY53" fmla="*/ 472457 h 1092502"/>
              <a:gd name="connsiteX54" fmla="*/ 1490292 w 6141505"/>
              <a:gd name="connsiteY54" fmla="*/ 488176 h 1092502"/>
              <a:gd name="connsiteX55" fmla="*/ 1650980 w 6141505"/>
              <a:gd name="connsiteY55" fmla="*/ 488176 h 1092502"/>
              <a:gd name="connsiteX56" fmla="*/ 1650980 w 6141505"/>
              <a:gd name="connsiteY56" fmla="*/ 505206 h 1092502"/>
              <a:gd name="connsiteX57" fmla="*/ 1686786 w 6141505"/>
              <a:gd name="connsiteY57" fmla="*/ 505206 h 1092502"/>
              <a:gd name="connsiteX58" fmla="*/ 1686786 w 6141505"/>
              <a:gd name="connsiteY58" fmla="*/ 520489 h 1092502"/>
              <a:gd name="connsiteX59" fmla="*/ 1821274 w 6141505"/>
              <a:gd name="connsiteY59" fmla="*/ 520489 h 1092502"/>
              <a:gd name="connsiteX60" fmla="*/ 1821274 w 6141505"/>
              <a:gd name="connsiteY60" fmla="*/ 537518 h 1092502"/>
              <a:gd name="connsiteX61" fmla="*/ 1840487 w 6141505"/>
              <a:gd name="connsiteY61" fmla="*/ 537518 h 1092502"/>
              <a:gd name="connsiteX62" fmla="*/ 1840487 w 6141505"/>
              <a:gd name="connsiteY62" fmla="*/ 554984 h 1092502"/>
              <a:gd name="connsiteX63" fmla="*/ 1906421 w 6141505"/>
              <a:gd name="connsiteY63" fmla="*/ 554984 h 1092502"/>
              <a:gd name="connsiteX64" fmla="*/ 1906421 w 6141505"/>
              <a:gd name="connsiteY64" fmla="*/ 572014 h 1092502"/>
              <a:gd name="connsiteX65" fmla="*/ 2002048 w 6141505"/>
              <a:gd name="connsiteY65" fmla="*/ 572014 h 1092502"/>
              <a:gd name="connsiteX66" fmla="*/ 2002048 w 6141505"/>
              <a:gd name="connsiteY66" fmla="*/ 587733 h 1092502"/>
              <a:gd name="connsiteX67" fmla="*/ 2028684 w 6141505"/>
              <a:gd name="connsiteY67" fmla="*/ 587733 h 1092502"/>
              <a:gd name="connsiteX68" fmla="*/ 2028684 w 6141505"/>
              <a:gd name="connsiteY68" fmla="*/ 602579 h 1092502"/>
              <a:gd name="connsiteX69" fmla="*/ 2070166 w 6141505"/>
              <a:gd name="connsiteY69" fmla="*/ 602579 h 1092502"/>
              <a:gd name="connsiteX70" fmla="*/ 2070166 w 6141505"/>
              <a:gd name="connsiteY70" fmla="*/ 619609 h 1092502"/>
              <a:gd name="connsiteX71" fmla="*/ 2120381 w 6141505"/>
              <a:gd name="connsiteY71" fmla="*/ 619609 h 1092502"/>
              <a:gd name="connsiteX72" fmla="*/ 2120381 w 6141505"/>
              <a:gd name="connsiteY72" fmla="*/ 636638 h 1092502"/>
              <a:gd name="connsiteX73" fmla="*/ 2248320 w 6141505"/>
              <a:gd name="connsiteY73" fmla="*/ 636638 h 1092502"/>
              <a:gd name="connsiteX74" fmla="*/ 2248320 w 6141505"/>
              <a:gd name="connsiteY74" fmla="*/ 653667 h 1092502"/>
              <a:gd name="connsiteX75" fmla="*/ 2411191 w 6141505"/>
              <a:gd name="connsiteY75" fmla="*/ 653667 h 1092502"/>
              <a:gd name="connsiteX76" fmla="*/ 2411191 w 6141505"/>
              <a:gd name="connsiteY76" fmla="*/ 669387 h 1092502"/>
              <a:gd name="connsiteX77" fmla="*/ 2421670 w 6141505"/>
              <a:gd name="connsiteY77" fmla="*/ 669387 h 1092502"/>
              <a:gd name="connsiteX78" fmla="*/ 2421670 w 6141505"/>
              <a:gd name="connsiteY78" fmla="*/ 688163 h 1092502"/>
              <a:gd name="connsiteX79" fmla="*/ 2504197 w 6141505"/>
              <a:gd name="connsiteY79" fmla="*/ 688163 h 1092502"/>
              <a:gd name="connsiteX80" fmla="*/ 2504197 w 6141505"/>
              <a:gd name="connsiteY80" fmla="*/ 707376 h 1092502"/>
              <a:gd name="connsiteX81" fmla="*/ 2508564 w 6141505"/>
              <a:gd name="connsiteY81" fmla="*/ 707376 h 1092502"/>
              <a:gd name="connsiteX82" fmla="*/ 2508564 w 6141505"/>
              <a:gd name="connsiteY82" fmla="*/ 725278 h 1092502"/>
              <a:gd name="connsiteX83" fmla="*/ 2515987 w 6141505"/>
              <a:gd name="connsiteY83" fmla="*/ 725278 h 1092502"/>
              <a:gd name="connsiteX84" fmla="*/ 2515987 w 6141505"/>
              <a:gd name="connsiteY84" fmla="*/ 741871 h 1092502"/>
              <a:gd name="connsiteX85" fmla="*/ 2698071 w 6141505"/>
              <a:gd name="connsiteY85" fmla="*/ 741871 h 1092502"/>
              <a:gd name="connsiteX86" fmla="*/ 2698071 w 6141505"/>
              <a:gd name="connsiteY86" fmla="*/ 759337 h 1092502"/>
              <a:gd name="connsiteX87" fmla="*/ 2743483 w 6141505"/>
              <a:gd name="connsiteY87" fmla="*/ 759337 h 1092502"/>
              <a:gd name="connsiteX88" fmla="*/ 2743483 w 6141505"/>
              <a:gd name="connsiteY88" fmla="*/ 780296 h 1092502"/>
              <a:gd name="connsiteX89" fmla="*/ 2995431 w 6141505"/>
              <a:gd name="connsiteY89" fmla="*/ 780296 h 1092502"/>
              <a:gd name="connsiteX90" fmla="*/ 2995431 w 6141505"/>
              <a:gd name="connsiteY90" fmla="*/ 798199 h 1092502"/>
              <a:gd name="connsiteX91" fmla="*/ 3085381 w 6141505"/>
              <a:gd name="connsiteY91" fmla="*/ 798199 h 1092502"/>
              <a:gd name="connsiteX92" fmla="*/ 3085381 w 6141505"/>
              <a:gd name="connsiteY92" fmla="*/ 817848 h 1092502"/>
              <a:gd name="connsiteX93" fmla="*/ 3166598 w 6141505"/>
              <a:gd name="connsiteY93" fmla="*/ 817848 h 1092502"/>
              <a:gd name="connsiteX94" fmla="*/ 3166598 w 6141505"/>
              <a:gd name="connsiteY94" fmla="*/ 837498 h 1092502"/>
              <a:gd name="connsiteX95" fmla="*/ 3263535 w 6141505"/>
              <a:gd name="connsiteY95" fmla="*/ 837498 h 1092502"/>
              <a:gd name="connsiteX96" fmla="*/ 3263535 w 6141505"/>
              <a:gd name="connsiteY96" fmla="*/ 858020 h 1092502"/>
              <a:gd name="connsiteX97" fmla="*/ 3534695 w 6141505"/>
              <a:gd name="connsiteY97" fmla="*/ 858020 h 1092502"/>
              <a:gd name="connsiteX98" fmla="*/ 3534695 w 6141505"/>
              <a:gd name="connsiteY98" fmla="*/ 878980 h 1092502"/>
              <a:gd name="connsiteX99" fmla="*/ 3638619 w 6141505"/>
              <a:gd name="connsiteY99" fmla="*/ 878980 h 1092502"/>
              <a:gd name="connsiteX100" fmla="*/ 3638619 w 6141505"/>
              <a:gd name="connsiteY100" fmla="*/ 899066 h 1092502"/>
              <a:gd name="connsiteX101" fmla="*/ 3698440 w 6141505"/>
              <a:gd name="connsiteY101" fmla="*/ 899066 h 1092502"/>
              <a:gd name="connsiteX102" fmla="*/ 3698440 w 6141505"/>
              <a:gd name="connsiteY102" fmla="*/ 923081 h 1092502"/>
              <a:gd name="connsiteX103" fmla="*/ 3794503 w 6141505"/>
              <a:gd name="connsiteY103" fmla="*/ 923081 h 1092502"/>
              <a:gd name="connsiteX104" fmla="*/ 3794503 w 6141505"/>
              <a:gd name="connsiteY104" fmla="*/ 945351 h 1092502"/>
              <a:gd name="connsiteX105" fmla="*/ 3848648 w 6141505"/>
              <a:gd name="connsiteY105" fmla="*/ 945351 h 1092502"/>
              <a:gd name="connsiteX106" fmla="*/ 3848648 w 6141505"/>
              <a:gd name="connsiteY106" fmla="*/ 968493 h 1092502"/>
              <a:gd name="connsiteX107" fmla="*/ 3997110 w 6141505"/>
              <a:gd name="connsiteY107" fmla="*/ 968493 h 1092502"/>
              <a:gd name="connsiteX108" fmla="*/ 3997110 w 6141505"/>
              <a:gd name="connsiteY108" fmla="*/ 995566 h 1092502"/>
              <a:gd name="connsiteX109" fmla="*/ 4288793 w 6141505"/>
              <a:gd name="connsiteY109" fmla="*/ 995566 h 1092502"/>
              <a:gd name="connsiteX110" fmla="*/ 4288793 w 6141505"/>
              <a:gd name="connsiteY110" fmla="*/ 1026568 h 1092502"/>
              <a:gd name="connsiteX111" fmla="*/ 4308443 w 6141505"/>
              <a:gd name="connsiteY111" fmla="*/ 1026568 h 1092502"/>
              <a:gd name="connsiteX112" fmla="*/ 4308443 w 6141505"/>
              <a:gd name="connsiteY112" fmla="*/ 1055823 h 1092502"/>
              <a:gd name="connsiteX113" fmla="*/ 4639424 w 6141505"/>
              <a:gd name="connsiteY113" fmla="*/ 1055823 h 1092502"/>
              <a:gd name="connsiteX114" fmla="*/ 4639424 w 6141505"/>
              <a:gd name="connsiteY114" fmla="*/ 1092502 h 1092502"/>
              <a:gd name="connsiteX115" fmla="*/ 6141506 w 6141505"/>
              <a:gd name="connsiteY115" fmla="*/ 1092502 h 1092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6141505" h="1092502">
                <a:moveTo>
                  <a:pt x="0" y="0"/>
                </a:moveTo>
                <a:lnTo>
                  <a:pt x="81654" y="0"/>
                </a:lnTo>
                <a:lnTo>
                  <a:pt x="81654" y="16593"/>
                </a:lnTo>
                <a:lnTo>
                  <a:pt x="163744" y="16593"/>
                </a:lnTo>
                <a:lnTo>
                  <a:pt x="163744" y="31002"/>
                </a:lnTo>
                <a:lnTo>
                  <a:pt x="172914" y="31002"/>
                </a:lnTo>
                <a:lnTo>
                  <a:pt x="172914" y="62005"/>
                </a:lnTo>
                <a:lnTo>
                  <a:pt x="184704" y="62005"/>
                </a:lnTo>
                <a:lnTo>
                  <a:pt x="184704" y="77724"/>
                </a:lnTo>
                <a:lnTo>
                  <a:pt x="254568" y="77724"/>
                </a:lnTo>
                <a:lnTo>
                  <a:pt x="254568" y="94753"/>
                </a:lnTo>
                <a:lnTo>
                  <a:pt x="323996" y="94753"/>
                </a:lnTo>
                <a:lnTo>
                  <a:pt x="323996" y="110036"/>
                </a:lnTo>
                <a:lnTo>
                  <a:pt x="337532" y="110036"/>
                </a:lnTo>
                <a:lnTo>
                  <a:pt x="337532" y="124882"/>
                </a:lnTo>
                <a:lnTo>
                  <a:pt x="348448" y="124882"/>
                </a:lnTo>
                <a:lnTo>
                  <a:pt x="348448" y="142348"/>
                </a:lnTo>
                <a:lnTo>
                  <a:pt x="355871" y="142348"/>
                </a:lnTo>
                <a:lnTo>
                  <a:pt x="355871" y="155448"/>
                </a:lnTo>
                <a:lnTo>
                  <a:pt x="479007" y="155448"/>
                </a:lnTo>
                <a:lnTo>
                  <a:pt x="479007" y="169421"/>
                </a:lnTo>
                <a:lnTo>
                  <a:pt x="489923" y="169421"/>
                </a:lnTo>
                <a:lnTo>
                  <a:pt x="489923" y="186014"/>
                </a:lnTo>
                <a:lnTo>
                  <a:pt x="497783" y="186014"/>
                </a:lnTo>
                <a:lnTo>
                  <a:pt x="497783" y="201733"/>
                </a:lnTo>
                <a:lnTo>
                  <a:pt x="509136" y="201733"/>
                </a:lnTo>
                <a:lnTo>
                  <a:pt x="509136" y="217889"/>
                </a:lnTo>
                <a:lnTo>
                  <a:pt x="537955" y="217889"/>
                </a:lnTo>
                <a:lnTo>
                  <a:pt x="537955" y="233609"/>
                </a:lnTo>
                <a:lnTo>
                  <a:pt x="626159" y="233609"/>
                </a:lnTo>
                <a:lnTo>
                  <a:pt x="626159" y="248891"/>
                </a:lnTo>
                <a:lnTo>
                  <a:pt x="667640" y="248891"/>
                </a:lnTo>
                <a:lnTo>
                  <a:pt x="667640" y="281640"/>
                </a:lnTo>
                <a:lnTo>
                  <a:pt x="723095" y="281640"/>
                </a:lnTo>
                <a:lnTo>
                  <a:pt x="723095" y="296050"/>
                </a:lnTo>
                <a:lnTo>
                  <a:pt x="782480" y="296050"/>
                </a:lnTo>
                <a:lnTo>
                  <a:pt x="782480" y="312643"/>
                </a:lnTo>
                <a:lnTo>
                  <a:pt x="995129" y="312643"/>
                </a:lnTo>
                <a:lnTo>
                  <a:pt x="995129" y="330545"/>
                </a:lnTo>
                <a:lnTo>
                  <a:pt x="1001242" y="330545"/>
                </a:lnTo>
                <a:lnTo>
                  <a:pt x="1001242" y="376394"/>
                </a:lnTo>
                <a:lnTo>
                  <a:pt x="1007792" y="376394"/>
                </a:lnTo>
                <a:lnTo>
                  <a:pt x="1007792" y="390803"/>
                </a:lnTo>
                <a:lnTo>
                  <a:pt x="1124378" y="390803"/>
                </a:lnTo>
                <a:lnTo>
                  <a:pt x="1124378" y="407833"/>
                </a:lnTo>
                <a:lnTo>
                  <a:pt x="1167170" y="407833"/>
                </a:lnTo>
                <a:lnTo>
                  <a:pt x="1167170" y="423989"/>
                </a:lnTo>
                <a:lnTo>
                  <a:pt x="1277643" y="423989"/>
                </a:lnTo>
                <a:lnTo>
                  <a:pt x="1277643" y="440145"/>
                </a:lnTo>
                <a:lnTo>
                  <a:pt x="1289432" y="440145"/>
                </a:lnTo>
                <a:lnTo>
                  <a:pt x="1289432" y="456738"/>
                </a:lnTo>
                <a:lnTo>
                  <a:pt x="1474573" y="456738"/>
                </a:lnTo>
                <a:lnTo>
                  <a:pt x="1474573" y="472457"/>
                </a:lnTo>
                <a:lnTo>
                  <a:pt x="1490292" y="472457"/>
                </a:lnTo>
                <a:lnTo>
                  <a:pt x="1490292" y="488176"/>
                </a:lnTo>
                <a:lnTo>
                  <a:pt x="1650980" y="488176"/>
                </a:lnTo>
                <a:lnTo>
                  <a:pt x="1650980" y="505206"/>
                </a:lnTo>
                <a:lnTo>
                  <a:pt x="1686786" y="505206"/>
                </a:lnTo>
                <a:lnTo>
                  <a:pt x="1686786" y="520489"/>
                </a:lnTo>
                <a:lnTo>
                  <a:pt x="1821274" y="520489"/>
                </a:lnTo>
                <a:lnTo>
                  <a:pt x="1821274" y="537518"/>
                </a:lnTo>
                <a:lnTo>
                  <a:pt x="1840487" y="537518"/>
                </a:lnTo>
                <a:lnTo>
                  <a:pt x="1840487" y="554984"/>
                </a:lnTo>
                <a:lnTo>
                  <a:pt x="1906421" y="554984"/>
                </a:lnTo>
                <a:lnTo>
                  <a:pt x="1906421" y="572014"/>
                </a:lnTo>
                <a:lnTo>
                  <a:pt x="2002048" y="572014"/>
                </a:lnTo>
                <a:lnTo>
                  <a:pt x="2002048" y="587733"/>
                </a:lnTo>
                <a:lnTo>
                  <a:pt x="2028684" y="587733"/>
                </a:lnTo>
                <a:lnTo>
                  <a:pt x="2028684" y="602579"/>
                </a:lnTo>
                <a:lnTo>
                  <a:pt x="2070166" y="602579"/>
                </a:lnTo>
                <a:lnTo>
                  <a:pt x="2070166" y="619609"/>
                </a:lnTo>
                <a:lnTo>
                  <a:pt x="2120381" y="619609"/>
                </a:lnTo>
                <a:lnTo>
                  <a:pt x="2120381" y="636638"/>
                </a:lnTo>
                <a:lnTo>
                  <a:pt x="2248320" y="636638"/>
                </a:lnTo>
                <a:lnTo>
                  <a:pt x="2248320" y="653667"/>
                </a:lnTo>
                <a:lnTo>
                  <a:pt x="2411191" y="653667"/>
                </a:lnTo>
                <a:lnTo>
                  <a:pt x="2411191" y="669387"/>
                </a:lnTo>
                <a:lnTo>
                  <a:pt x="2421670" y="669387"/>
                </a:lnTo>
                <a:lnTo>
                  <a:pt x="2421670" y="688163"/>
                </a:lnTo>
                <a:lnTo>
                  <a:pt x="2504197" y="688163"/>
                </a:lnTo>
                <a:lnTo>
                  <a:pt x="2504197" y="707376"/>
                </a:lnTo>
                <a:lnTo>
                  <a:pt x="2508564" y="707376"/>
                </a:lnTo>
                <a:lnTo>
                  <a:pt x="2508564" y="725278"/>
                </a:lnTo>
                <a:lnTo>
                  <a:pt x="2515987" y="725278"/>
                </a:lnTo>
                <a:lnTo>
                  <a:pt x="2515987" y="741871"/>
                </a:lnTo>
                <a:lnTo>
                  <a:pt x="2698071" y="741871"/>
                </a:lnTo>
                <a:lnTo>
                  <a:pt x="2698071" y="759337"/>
                </a:lnTo>
                <a:lnTo>
                  <a:pt x="2743483" y="759337"/>
                </a:lnTo>
                <a:lnTo>
                  <a:pt x="2743483" y="780296"/>
                </a:lnTo>
                <a:lnTo>
                  <a:pt x="2995431" y="780296"/>
                </a:lnTo>
                <a:lnTo>
                  <a:pt x="2995431" y="798199"/>
                </a:lnTo>
                <a:lnTo>
                  <a:pt x="3085381" y="798199"/>
                </a:lnTo>
                <a:lnTo>
                  <a:pt x="3085381" y="817848"/>
                </a:lnTo>
                <a:lnTo>
                  <a:pt x="3166598" y="817848"/>
                </a:lnTo>
                <a:lnTo>
                  <a:pt x="3166598" y="837498"/>
                </a:lnTo>
                <a:lnTo>
                  <a:pt x="3263535" y="837498"/>
                </a:lnTo>
                <a:lnTo>
                  <a:pt x="3263535" y="858020"/>
                </a:lnTo>
                <a:lnTo>
                  <a:pt x="3534695" y="858020"/>
                </a:lnTo>
                <a:lnTo>
                  <a:pt x="3534695" y="878980"/>
                </a:lnTo>
                <a:lnTo>
                  <a:pt x="3638619" y="878980"/>
                </a:lnTo>
                <a:lnTo>
                  <a:pt x="3638619" y="899066"/>
                </a:lnTo>
                <a:lnTo>
                  <a:pt x="3698440" y="899066"/>
                </a:lnTo>
                <a:lnTo>
                  <a:pt x="3698440" y="923081"/>
                </a:lnTo>
                <a:lnTo>
                  <a:pt x="3794503" y="923081"/>
                </a:lnTo>
                <a:lnTo>
                  <a:pt x="3794503" y="945351"/>
                </a:lnTo>
                <a:lnTo>
                  <a:pt x="3848648" y="945351"/>
                </a:lnTo>
                <a:lnTo>
                  <a:pt x="3848648" y="968493"/>
                </a:lnTo>
                <a:lnTo>
                  <a:pt x="3997110" y="968493"/>
                </a:lnTo>
                <a:lnTo>
                  <a:pt x="3997110" y="995566"/>
                </a:lnTo>
                <a:lnTo>
                  <a:pt x="4288793" y="995566"/>
                </a:lnTo>
                <a:lnTo>
                  <a:pt x="4288793" y="1026568"/>
                </a:lnTo>
                <a:lnTo>
                  <a:pt x="4308443" y="1026568"/>
                </a:lnTo>
                <a:lnTo>
                  <a:pt x="4308443" y="1055823"/>
                </a:lnTo>
                <a:lnTo>
                  <a:pt x="4639424" y="1055823"/>
                </a:lnTo>
                <a:lnTo>
                  <a:pt x="4639424" y="1092502"/>
                </a:lnTo>
                <a:lnTo>
                  <a:pt x="6141506" y="1092502"/>
                </a:lnTo>
              </a:path>
            </a:pathLst>
          </a:custGeom>
          <a:noFill/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4" name="Freeform 61">
            <a:extLst>
              <a:ext uri="{FF2B5EF4-FFF2-40B4-BE49-F238E27FC236}">
                <a16:creationId xmlns:a16="http://schemas.microsoft.com/office/drawing/2014/main" id="{DE68AAAD-79B4-215C-2D3E-4B8F39D25D57}"/>
              </a:ext>
            </a:extLst>
          </p:cNvPr>
          <p:cNvSpPr/>
          <p:nvPr/>
        </p:nvSpPr>
        <p:spPr>
          <a:xfrm>
            <a:off x="9858980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" name="Freeform 62">
            <a:extLst>
              <a:ext uri="{FF2B5EF4-FFF2-40B4-BE49-F238E27FC236}">
                <a16:creationId xmlns:a16="http://schemas.microsoft.com/office/drawing/2014/main" id="{14F241EC-4A06-F7EF-0A3B-2B60B02EC1BB}"/>
              </a:ext>
            </a:extLst>
          </p:cNvPr>
          <p:cNvSpPr/>
          <p:nvPr/>
        </p:nvSpPr>
        <p:spPr>
          <a:xfrm>
            <a:off x="9792942" y="2490517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6" name="Freeform 64">
            <a:extLst>
              <a:ext uri="{FF2B5EF4-FFF2-40B4-BE49-F238E27FC236}">
                <a16:creationId xmlns:a16="http://schemas.microsoft.com/office/drawing/2014/main" id="{6683EF3A-6A4F-03CC-A297-70A51127AB1D}"/>
              </a:ext>
            </a:extLst>
          </p:cNvPr>
          <p:cNvSpPr/>
          <p:nvPr/>
        </p:nvSpPr>
        <p:spPr>
          <a:xfrm>
            <a:off x="9707644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Freeform 65">
            <a:extLst>
              <a:ext uri="{FF2B5EF4-FFF2-40B4-BE49-F238E27FC236}">
                <a16:creationId xmlns:a16="http://schemas.microsoft.com/office/drawing/2014/main" id="{2CDACAD1-BC4A-E261-A4C5-E9CFE0AFAD13}"/>
              </a:ext>
            </a:extLst>
          </p:cNvPr>
          <p:cNvSpPr/>
          <p:nvPr/>
        </p:nvSpPr>
        <p:spPr>
          <a:xfrm>
            <a:off x="9642156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8" name="Freeform 67">
            <a:extLst>
              <a:ext uri="{FF2B5EF4-FFF2-40B4-BE49-F238E27FC236}">
                <a16:creationId xmlns:a16="http://schemas.microsoft.com/office/drawing/2014/main" id="{9331FA1A-5668-E171-E62D-37D1379C8A90}"/>
              </a:ext>
            </a:extLst>
          </p:cNvPr>
          <p:cNvSpPr/>
          <p:nvPr/>
        </p:nvSpPr>
        <p:spPr>
          <a:xfrm>
            <a:off x="9538147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Freeform 68">
            <a:extLst>
              <a:ext uri="{FF2B5EF4-FFF2-40B4-BE49-F238E27FC236}">
                <a16:creationId xmlns:a16="http://schemas.microsoft.com/office/drawing/2014/main" id="{F674C680-DAFC-3DA7-C60D-592307A20860}"/>
              </a:ext>
            </a:extLst>
          </p:cNvPr>
          <p:cNvSpPr/>
          <p:nvPr/>
        </p:nvSpPr>
        <p:spPr>
          <a:xfrm>
            <a:off x="9472660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0" name="Freeform 70">
            <a:extLst>
              <a:ext uri="{FF2B5EF4-FFF2-40B4-BE49-F238E27FC236}">
                <a16:creationId xmlns:a16="http://schemas.microsoft.com/office/drawing/2014/main" id="{207A93C5-F75B-AD5E-6DF4-6CCD8146BBA5}"/>
              </a:ext>
            </a:extLst>
          </p:cNvPr>
          <p:cNvSpPr/>
          <p:nvPr/>
        </p:nvSpPr>
        <p:spPr>
          <a:xfrm>
            <a:off x="9450648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1" name="Freeform 71">
            <a:extLst>
              <a:ext uri="{FF2B5EF4-FFF2-40B4-BE49-F238E27FC236}">
                <a16:creationId xmlns:a16="http://schemas.microsoft.com/office/drawing/2014/main" id="{A5912688-7571-F52D-DC67-68C87C0723D6}"/>
              </a:ext>
            </a:extLst>
          </p:cNvPr>
          <p:cNvSpPr/>
          <p:nvPr/>
        </p:nvSpPr>
        <p:spPr>
          <a:xfrm>
            <a:off x="9384609" y="2490517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7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7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2" name="Freeform 73">
            <a:extLst>
              <a:ext uri="{FF2B5EF4-FFF2-40B4-BE49-F238E27FC236}">
                <a16:creationId xmlns:a16="http://schemas.microsoft.com/office/drawing/2014/main" id="{9DE48083-999A-8F65-2D0A-23DC2B5BB090}"/>
              </a:ext>
            </a:extLst>
          </p:cNvPr>
          <p:cNvSpPr/>
          <p:nvPr/>
        </p:nvSpPr>
        <p:spPr>
          <a:xfrm>
            <a:off x="9243180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3" name="Freeform 74">
            <a:extLst>
              <a:ext uri="{FF2B5EF4-FFF2-40B4-BE49-F238E27FC236}">
                <a16:creationId xmlns:a16="http://schemas.microsoft.com/office/drawing/2014/main" id="{1AAA0220-AF39-F56D-38D6-42E2CA7A5F36}"/>
              </a:ext>
            </a:extLst>
          </p:cNvPr>
          <p:cNvSpPr/>
          <p:nvPr/>
        </p:nvSpPr>
        <p:spPr>
          <a:xfrm>
            <a:off x="9177692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4" name="Freeform 76">
            <a:extLst>
              <a:ext uri="{FF2B5EF4-FFF2-40B4-BE49-F238E27FC236}">
                <a16:creationId xmlns:a16="http://schemas.microsoft.com/office/drawing/2014/main" id="{37DFC302-3440-84A0-BC5B-00F4E86E88A5}"/>
              </a:ext>
            </a:extLst>
          </p:cNvPr>
          <p:cNvSpPr/>
          <p:nvPr/>
        </p:nvSpPr>
        <p:spPr>
          <a:xfrm>
            <a:off x="9231623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Freeform 77">
            <a:extLst>
              <a:ext uri="{FF2B5EF4-FFF2-40B4-BE49-F238E27FC236}">
                <a16:creationId xmlns:a16="http://schemas.microsoft.com/office/drawing/2014/main" id="{9283E07A-2B8E-9F58-5BE7-F3F32B42D08F}"/>
              </a:ext>
            </a:extLst>
          </p:cNvPr>
          <p:cNvSpPr/>
          <p:nvPr/>
        </p:nvSpPr>
        <p:spPr>
          <a:xfrm>
            <a:off x="9166136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Freeform 79">
            <a:extLst>
              <a:ext uri="{FF2B5EF4-FFF2-40B4-BE49-F238E27FC236}">
                <a16:creationId xmlns:a16="http://schemas.microsoft.com/office/drawing/2014/main" id="{5E6F7268-4AE0-5064-DBF7-AB5932AEC63D}"/>
              </a:ext>
            </a:extLst>
          </p:cNvPr>
          <p:cNvSpPr/>
          <p:nvPr/>
        </p:nvSpPr>
        <p:spPr>
          <a:xfrm>
            <a:off x="9087441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Freeform 80">
            <a:extLst>
              <a:ext uri="{FF2B5EF4-FFF2-40B4-BE49-F238E27FC236}">
                <a16:creationId xmlns:a16="http://schemas.microsoft.com/office/drawing/2014/main" id="{DC1765E4-7818-1D09-7107-2B8E5A435026}"/>
              </a:ext>
            </a:extLst>
          </p:cNvPr>
          <p:cNvSpPr/>
          <p:nvPr/>
        </p:nvSpPr>
        <p:spPr>
          <a:xfrm>
            <a:off x="9021403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8" name="Freeform 82">
            <a:extLst>
              <a:ext uri="{FF2B5EF4-FFF2-40B4-BE49-F238E27FC236}">
                <a16:creationId xmlns:a16="http://schemas.microsoft.com/office/drawing/2014/main" id="{D7117626-8610-1E50-0EAF-B0A304E3CE56}"/>
              </a:ext>
            </a:extLst>
          </p:cNvPr>
          <p:cNvSpPr/>
          <p:nvPr/>
        </p:nvSpPr>
        <p:spPr>
          <a:xfrm>
            <a:off x="9040115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9" name="Freeform 83">
            <a:extLst>
              <a:ext uri="{FF2B5EF4-FFF2-40B4-BE49-F238E27FC236}">
                <a16:creationId xmlns:a16="http://schemas.microsoft.com/office/drawing/2014/main" id="{3E2BC393-AF48-03A2-3AB4-92B5202D7EFD}"/>
              </a:ext>
            </a:extLst>
          </p:cNvPr>
          <p:cNvSpPr/>
          <p:nvPr/>
        </p:nvSpPr>
        <p:spPr>
          <a:xfrm>
            <a:off x="8974627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0" name="Freeform 85">
            <a:extLst>
              <a:ext uri="{FF2B5EF4-FFF2-40B4-BE49-F238E27FC236}">
                <a16:creationId xmlns:a16="http://schemas.microsoft.com/office/drawing/2014/main" id="{E9C9E127-1149-7ACC-F395-05F2486B6840}"/>
              </a:ext>
            </a:extLst>
          </p:cNvPr>
          <p:cNvSpPr/>
          <p:nvPr/>
        </p:nvSpPr>
        <p:spPr>
          <a:xfrm>
            <a:off x="9036262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Freeform 86">
            <a:extLst>
              <a:ext uri="{FF2B5EF4-FFF2-40B4-BE49-F238E27FC236}">
                <a16:creationId xmlns:a16="http://schemas.microsoft.com/office/drawing/2014/main" id="{729CAAF8-B6C8-524D-CB64-A8C4A5765C80}"/>
              </a:ext>
            </a:extLst>
          </p:cNvPr>
          <p:cNvSpPr/>
          <p:nvPr/>
        </p:nvSpPr>
        <p:spPr>
          <a:xfrm>
            <a:off x="8970225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2" name="Freeform 88">
            <a:extLst>
              <a:ext uri="{FF2B5EF4-FFF2-40B4-BE49-F238E27FC236}">
                <a16:creationId xmlns:a16="http://schemas.microsoft.com/office/drawing/2014/main" id="{F03A9D89-8388-FF4A-3B9D-5B1619D3165A}"/>
              </a:ext>
            </a:extLst>
          </p:cNvPr>
          <p:cNvSpPr/>
          <p:nvPr/>
        </p:nvSpPr>
        <p:spPr>
          <a:xfrm>
            <a:off x="9010947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3" name="Freeform 89">
            <a:extLst>
              <a:ext uri="{FF2B5EF4-FFF2-40B4-BE49-F238E27FC236}">
                <a16:creationId xmlns:a16="http://schemas.microsoft.com/office/drawing/2014/main" id="{E2F070C6-D0F0-537E-7DF4-C7AC553E0549}"/>
              </a:ext>
            </a:extLst>
          </p:cNvPr>
          <p:cNvSpPr/>
          <p:nvPr/>
        </p:nvSpPr>
        <p:spPr>
          <a:xfrm>
            <a:off x="8945460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4" name="Freeform 91">
            <a:extLst>
              <a:ext uri="{FF2B5EF4-FFF2-40B4-BE49-F238E27FC236}">
                <a16:creationId xmlns:a16="http://schemas.microsoft.com/office/drawing/2014/main" id="{134ACBB9-E4B3-B40A-A9A0-1735127E6BFB}"/>
              </a:ext>
            </a:extLst>
          </p:cNvPr>
          <p:cNvSpPr/>
          <p:nvPr/>
        </p:nvSpPr>
        <p:spPr>
          <a:xfrm>
            <a:off x="8986733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Freeform 92">
            <a:extLst>
              <a:ext uri="{FF2B5EF4-FFF2-40B4-BE49-F238E27FC236}">
                <a16:creationId xmlns:a16="http://schemas.microsoft.com/office/drawing/2014/main" id="{050BB8A4-34A7-5FDF-24F9-340E6D467A70}"/>
              </a:ext>
            </a:extLst>
          </p:cNvPr>
          <p:cNvSpPr/>
          <p:nvPr/>
        </p:nvSpPr>
        <p:spPr>
          <a:xfrm>
            <a:off x="8920696" y="2490517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6" name="Freeform 94">
            <a:extLst>
              <a:ext uri="{FF2B5EF4-FFF2-40B4-BE49-F238E27FC236}">
                <a16:creationId xmlns:a16="http://schemas.microsoft.com/office/drawing/2014/main" id="{29E2676B-7DBA-0E1D-2B30-BCF0547057BC}"/>
              </a:ext>
            </a:extLst>
          </p:cNvPr>
          <p:cNvSpPr/>
          <p:nvPr/>
        </p:nvSpPr>
        <p:spPr>
          <a:xfrm>
            <a:off x="8790272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7" name="Freeform 95">
            <a:extLst>
              <a:ext uri="{FF2B5EF4-FFF2-40B4-BE49-F238E27FC236}">
                <a16:creationId xmlns:a16="http://schemas.microsoft.com/office/drawing/2014/main" id="{A23CF8C6-9097-13D1-40CF-DDED9D4AF05B}"/>
              </a:ext>
            </a:extLst>
          </p:cNvPr>
          <p:cNvSpPr/>
          <p:nvPr/>
        </p:nvSpPr>
        <p:spPr>
          <a:xfrm>
            <a:off x="8724784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8" name="Freeform 97">
            <a:extLst>
              <a:ext uri="{FF2B5EF4-FFF2-40B4-BE49-F238E27FC236}">
                <a16:creationId xmlns:a16="http://schemas.microsoft.com/office/drawing/2014/main" id="{A9962FE8-A2E7-6A31-97CA-1AC4EF9F9947}"/>
              </a:ext>
            </a:extLst>
          </p:cNvPr>
          <p:cNvSpPr/>
          <p:nvPr/>
        </p:nvSpPr>
        <p:spPr>
          <a:xfrm>
            <a:off x="8796325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9" name="Freeform 98">
            <a:extLst>
              <a:ext uri="{FF2B5EF4-FFF2-40B4-BE49-F238E27FC236}">
                <a16:creationId xmlns:a16="http://schemas.microsoft.com/office/drawing/2014/main" id="{3E781341-7E27-CE0C-DEBB-B3C43F58741A}"/>
              </a:ext>
            </a:extLst>
          </p:cNvPr>
          <p:cNvSpPr/>
          <p:nvPr/>
        </p:nvSpPr>
        <p:spPr>
          <a:xfrm>
            <a:off x="8730838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0" name="Freeform 100">
            <a:extLst>
              <a:ext uri="{FF2B5EF4-FFF2-40B4-BE49-F238E27FC236}">
                <a16:creationId xmlns:a16="http://schemas.microsoft.com/office/drawing/2014/main" id="{DE8BB52A-B6DA-575C-D4F5-6718A16511A3}"/>
              </a:ext>
            </a:extLst>
          </p:cNvPr>
          <p:cNvSpPr/>
          <p:nvPr/>
        </p:nvSpPr>
        <p:spPr>
          <a:xfrm>
            <a:off x="8747897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Freeform 101">
            <a:extLst>
              <a:ext uri="{FF2B5EF4-FFF2-40B4-BE49-F238E27FC236}">
                <a16:creationId xmlns:a16="http://schemas.microsoft.com/office/drawing/2014/main" id="{55EA9801-43A0-49FB-6C00-18AE48FAEDEE}"/>
              </a:ext>
            </a:extLst>
          </p:cNvPr>
          <p:cNvSpPr/>
          <p:nvPr/>
        </p:nvSpPr>
        <p:spPr>
          <a:xfrm>
            <a:off x="8681860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2" name="Freeform 103">
            <a:extLst>
              <a:ext uri="{FF2B5EF4-FFF2-40B4-BE49-F238E27FC236}">
                <a16:creationId xmlns:a16="http://schemas.microsoft.com/office/drawing/2014/main" id="{477FAA60-BEAA-D015-8A91-D109B3BB1EBC}"/>
              </a:ext>
            </a:extLst>
          </p:cNvPr>
          <p:cNvSpPr/>
          <p:nvPr/>
        </p:nvSpPr>
        <p:spPr>
          <a:xfrm>
            <a:off x="8662049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3" name="Freeform 104">
            <a:extLst>
              <a:ext uri="{FF2B5EF4-FFF2-40B4-BE49-F238E27FC236}">
                <a16:creationId xmlns:a16="http://schemas.microsoft.com/office/drawing/2014/main" id="{AEB9A48E-722A-245A-4F7C-154D9E0228A4}"/>
              </a:ext>
            </a:extLst>
          </p:cNvPr>
          <p:cNvSpPr/>
          <p:nvPr/>
        </p:nvSpPr>
        <p:spPr>
          <a:xfrm>
            <a:off x="8596012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4" name="Freeform 106">
            <a:extLst>
              <a:ext uri="{FF2B5EF4-FFF2-40B4-BE49-F238E27FC236}">
                <a16:creationId xmlns:a16="http://schemas.microsoft.com/office/drawing/2014/main" id="{BA15766B-FCEF-4D0C-8182-BF282D00CF16}"/>
              </a:ext>
            </a:extLst>
          </p:cNvPr>
          <p:cNvSpPr/>
          <p:nvPr/>
        </p:nvSpPr>
        <p:spPr>
          <a:xfrm>
            <a:off x="8631782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5" name="Freeform 107">
            <a:extLst>
              <a:ext uri="{FF2B5EF4-FFF2-40B4-BE49-F238E27FC236}">
                <a16:creationId xmlns:a16="http://schemas.microsoft.com/office/drawing/2014/main" id="{30E63C7E-6058-6A7B-09E2-3FFBF2D6D16D}"/>
              </a:ext>
            </a:extLst>
          </p:cNvPr>
          <p:cNvSpPr/>
          <p:nvPr/>
        </p:nvSpPr>
        <p:spPr>
          <a:xfrm>
            <a:off x="8566294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6" name="Freeform 109">
            <a:extLst>
              <a:ext uri="{FF2B5EF4-FFF2-40B4-BE49-F238E27FC236}">
                <a16:creationId xmlns:a16="http://schemas.microsoft.com/office/drawing/2014/main" id="{02A55850-1E5E-A377-E058-A15210CCB264}"/>
              </a:ext>
            </a:extLst>
          </p:cNvPr>
          <p:cNvSpPr/>
          <p:nvPr/>
        </p:nvSpPr>
        <p:spPr>
          <a:xfrm>
            <a:off x="8606467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7" name="Freeform 110">
            <a:extLst>
              <a:ext uri="{FF2B5EF4-FFF2-40B4-BE49-F238E27FC236}">
                <a16:creationId xmlns:a16="http://schemas.microsoft.com/office/drawing/2014/main" id="{F48A360F-D7E4-E1DC-AE0E-645A32A80776}"/>
              </a:ext>
            </a:extLst>
          </p:cNvPr>
          <p:cNvSpPr/>
          <p:nvPr/>
        </p:nvSpPr>
        <p:spPr>
          <a:xfrm>
            <a:off x="8540430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8" name="Freeform 112">
            <a:extLst>
              <a:ext uri="{FF2B5EF4-FFF2-40B4-BE49-F238E27FC236}">
                <a16:creationId xmlns:a16="http://schemas.microsoft.com/office/drawing/2014/main" id="{30F1E025-9A56-A9DF-4E71-1E885911CAEE}"/>
              </a:ext>
            </a:extLst>
          </p:cNvPr>
          <p:cNvSpPr/>
          <p:nvPr/>
        </p:nvSpPr>
        <p:spPr>
          <a:xfrm>
            <a:off x="8602614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9" name="Freeform 113">
            <a:extLst>
              <a:ext uri="{FF2B5EF4-FFF2-40B4-BE49-F238E27FC236}">
                <a16:creationId xmlns:a16="http://schemas.microsoft.com/office/drawing/2014/main" id="{6A9020EC-9B0D-025F-95D6-3E7E5F6C26C7}"/>
              </a:ext>
            </a:extLst>
          </p:cNvPr>
          <p:cNvSpPr/>
          <p:nvPr/>
        </p:nvSpPr>
        <p:spPr>
          <a:xfrm>
            <a:off x="8537128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0" name="Freeform 115">
            <a:extLst>
              <a:ext uri="{FF2B5EF4-FFF2-40B4-BE49-F238E27FC236}">
                <a16:creationId xmlns:a16="http://schemas.microsoft.com/office/drawing/2014/main" id="{EA44B080-8D3D-A58B-6B64-C630BE982B2C}"/>
              </a:ext>
            </a:extLst>
          </p:cNvPr>
          <p:cNvSpPr/>
          <p:nvPr/>
        </p:nvSpPr>
        <p:spPr>
          <a:xfrm>
            <a:off x="8336263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1" name="Freeform 116">
            <a:extLst>
              <a:ext uri="{FF2B5EF4-FFF2-40B4-BE49-F238E27FC236}">
                <a16:creationId xmlns:a16="http://schemas.microsoft.com/office/drawing/2014/main" id="{29197599-19AC-EBF8-368E-086DAE5A69DF}"/>
              </a:ext>
            </a:extLst>
          </p:cNvPr>
          <p:cNvSpPr/>
          <p:nvPr/>
        </p:nvSpPr>
        <p:spPr>
          <a:xfrm>
            <a:off x="8270776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2" name="Freeform 118">
            <a:extLst>
              <a:ext uri="{FF2B5EF4-FFF2-40B4-BE49-F238E27FC236}">
                <a16:creationId xmlns:a16="http://schemas.microsoft.com/office/drawing/2014/main" id="{18CB4E91-F9E1-3000-0492-CC89261D2C17}"/>
              </a:ext>
            </a:extLst>
          </p:cNvPr>
          <p:cNvSpPr/>
          <p:nvPr/>
        </p:nvSpPr>
        <p:spPr>
          <a:xfrm>
            <a:off x="8257569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Freeform 119">
            <a:extLst>
              <a:ext uri="{FF2B5EF4-FFF2-40B4-BE49-F238E27FC236}">
                <a16:creationId xmlns:a16="http://schemas.microsoft.com/office/drawing/2014/main" id="{974B717F-60C4-EF11-B7DD-AB6C01D784B7}"/>
              </a:ext>
            </a:extLst>
          </p:cNvPr>
          <p:cNvSpPr/>
          <p:nvPr/>
        </p:nvSpPr>
        <p:spPr>
          <a:xfrm>
            <a:off x="8192081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Freeform 121">
            <a:extLst>
              <a:ext uri="{FF2B5EF4-FFF2-40B4-BE49-F238E27FC236}">
                <a16:creationId xmlns:a16="http://schemas.microsoft.com/office/drawing/2014/main" id="{F1180DD3-69A6-A07B-37F7-9752FC7C33BF}"/>
              </a:ext>
            </a:extLst>
          </p:cNvPr>
          <p:cNvSpPr/>
          <p:nvPr/>
        </p:nvSpPr>
        <p:spPr>
          <a:xfrm>
            <a:off x="8215195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" name="Freeform 122">
            <a:extLst>
              <a:ext uri="{FF2B5EF4-FFF2-40B4-BE49-F238E27FC236}">
                <a16:creationId xmlns:a16="http://schemas.microsoft.com/office/drawing/2014/main" id="{B905B91F-DC67-DC21-5477-0291688BEE2B}"/>
              </a:ext>
            </a:extLst>
          </p:cNvPr>
          <p:cNvSpPr/>
          <p:nvPr/>
        </p:nvSpPr>
        <p:spPr>
          <a:xfrm>
            <a:off x="8149156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" name="Freeform 124">
            <a:extLst>
              <a:ext uri="{FF2B5EF4-FFF2-40B4-BE49-F238E27FC236}">
                <a16:creationId xmlns:a16="http://schemas.microsoft.com/office/drawing/2014/main" id="{3EE3AB74-782A-8CBD-21A2-C7AED9AA97BD}"/>
              </a:ext>
            </a:extLst>
          </p:cNvPr>
          <p:cNvSpPr/>
          <p:nvPr/>
        </p:nvSpPr>
        <p:spPr>
          <a:xfrm>
            <a:off x="8188230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" name="Freeform 125">
            <a:extLst>
              <a:ext uri="{FF2B5EF4-FFF2-40B4-BE49-F238E27FC236}">
                <a16:creationId xmlns:a16="http://schemas.microsoft.com/office/drawing/2014/main" id="{053AE09A-243A-C2AC-FE92-0572A500C866}"/>
              </a:ext>
            </a:extLst>
          </p:cNvPr>
          <p:cNvSpPr/>
          <p:nvPr/>
        </p:nvSpPr>
        <p:spPr>
          <a:xfrm>
            <a:off x="8122192" y="2490517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8" name="Freeform 127">
            <a:extLst>
              <a:ext uri="{FF2B5EF4-FFF2-40B4-BE49-F238E27FC236}">
                <a16:creationId xmlns:a16="http://schemas.microsoft.com/office/drawing/2014/main" id="{8A3F498A-6F1E-7958-5866-6BB5EBA80CD4}"/>
              </a:ext>
            </a:extLst>
          </p:cNvPr>
          <p:cNvSpPr/>
          <p:nvPr/>
        </p:nvSpPr>
        <p:spPr>
          <a:xfrm>
            <a:off x="8166217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9" name="Freeform 128">
            <a:extLst>
              <a:ext uri="{FF2B5EF4-FFF2-40B4-BE49-F238E27FC236}">
                <a16:creationId xmlns:a16="http://schemas.microsoft.com/office/drawing/2014/main" id="{D518A535-47BA-8E83-1E67-C5682043792D}"/>
              </a:ext>
            </a:extLst>
          </p:cNvPr>
          <p:cNvSpPr/>
          <p:nvPr/>
        </p:nvSpPr>
        <p:spPr>
          <a:xfrm>
            <a:off x="8100729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0" name="Freeform 130">
            <a:extLst>
              <a:ext uri="{FF2B5EF4-FFF2-40B4-BE49-F238E27FC236}">
                <a16:creationId xmlns:a16="http://schemas.microsoft.com/office/drawing/2014/main" id="{E37611AA-9BD8-27E6-129B-0B99F651A096}"/>
              </a:ext>
            </a:extLst>
          </p:cNvPr>
          <p:cNvSpPr/>
          <p:nvPr/>
        </p:nvSpPr>
        <p:spPr>
          <a:xfrm>
            <a:off x="8134849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1" name="Freeform 131">
            <a:extLst>
              <a:ext uri="{FF2B5EF4-FFF2-40B4-BE49-F238E27FC236}">
                <a16:creationId xmlns:a16="http://schemas.microsoft.com/office/drawing/2014/main" id="{7E6B8CC8-FB46-FBCA-89A2-B175C63A5236}"/>
              </a:ext>
            </a:extLst>
          </p:cNvPr>
          <p:cNvSpPr/>
          <p:nvPr/>
        </p:nvSpPr>
        <p:spPr>
          <a:xfrm>
            <a:off x="8068811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2" name="Freeform 133">
            <a:extLst>
              <a:ext uri="{FF2B5EF4-FFF2-40B4-BE49-F238E27FC236}">
                <a16:creationId xmlns:a16="http://schemas.microsoft.com/office/drawing/2014/main" id="{D82178D5-B1C5-FF3E-BF49-34B2FBB8CCC6}"/>
              </a:ext>
            </a:extLst>
          </p:cNvPr>
          <p:cNvSpPr/>
          <p:nvPr/>
        </p:nvSpPr>
        <p:spPr>
          <a:xfrm>
            <a:off x="7996170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3" name="Freeform 134">
            <a:extLst>
              <a:ext uri="{FF2B5EF4-FFF2-40B4-BE49-F238E27FC236}">
                <a16:creationId xmlns:a16="http://schemas.microsoft.com/office/drawing/2014/main" id="{6A6CC605-E304-5650-8C5D-56D0E04215F6}"/>
              </a:ext>
            </a:extLst>
          </p:cNvPr>
          <p:cNvSpPr/>
          <p:nvPr/>
        </p:nvSpPr>
        <p:spPr>
          <a:xfrm>
            <a:off x="7930683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4" name="Freeform 136">
            <a:extLst>
              <a:ext uri="{FF2B5EF4-FFF2-40B4-BE49-F238E27FC236}">
                <a16:creationId xmlns:a16="http://schemas.microsoft.com/office/drawing/2014/main" id="{D902E721-717C-9C68-E0CC-43641B48A84E}"/>
              </a:ext>
            </a:extLst>
          </p:cNvPr>
          <p:cNvSpPr/>
          <p:nvPr/>
        </p:nvSpPr>
        <p:spPr>
          <a:xfrm>
            <a:off x="8017633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5" name="Freeform 137">
            <a:extLst>
              <a:ext uri="{FF2B5EF4-FFF2-40B4-BE49-F238E27FC236}">
                <a16:creationId xmlns:a16="http://schemas.microsoft.com/office/drawing/2014/main" id="{A68C664D-199A-B6D8-0DAF-F2ACD5E6C355}"/>
              </a:ext>
            </a:extLst>
          </p:cNvPr>
          <p:cNvSpPr/>
          <p:nvPr/>
        </p:nvSpPr>
        <p:spPr>
          <a:xfrm>
            <a:off x="7951594" y="2490517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6" name="Freeform 139">
            <a:extLst>
              <a:ext uri="{FF2B5EF4-FFF2-40B4-BE49-F238E27FC236}">
                <a16:creationId xmlns:a16="http://schemas.microsoft.com/office/drawing/2014/main" id="{55226F5B-1AEB-8EC5-C735-2D8BC12A32D6}"/>
              </a:ext>
            </a:extLst>
          </p:cNvPr>
          <p:cNvSpPr/>
          <p:nvPr/>
        </p:nvSpPr>
        <p:spPr>
          <a:xfrm>
            <a:off x="7846485" y="2394436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7" name="Freeform 140">
            <a:extLst>
              <a:ext uri="{FF2B5EF4-FFF2-40B4-BE49-F238E27FC236}">
                <a16:creationId xmlns:a16="http://schemas.microsoft.com/office/drawing/2014/main" id="{0718758C-95CE-2DE2-F57F-4163A7AFA17F}"/>
              </a:ext>
            </a:extLst>
          </p:cNvPr>
          <p:cNvSpPr/>
          <p:nvPr/>
        </p:nvSpPr>
        <p:spPr>
          <a:xfrm>
            <a:off x="7780447" y="245075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" name="Freeform 142">
            <a:extLst>
              <a:ext uri="{FF2B5EF4-FFF2-40B4-BE49-F238E27FC236}">
                <a16:creationId xmlns:a16="http://schemas.microsoft.com/office/drawing/2014/main" id="{91C0A6E0-1C10-5ABF-85A9-3F08C1884CC3}"/>
              </a:ext>
            </a:extLst>
          </p:cNvPr>
          <p:cNvSpPr/>
          <p:nvPr/>
        </p:nvSpPr>
        <p:spPr>
          <a:xfrm>
            <a:off x="7814566" y="2394436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9" name="Freeform 143">
            <a:extLst>
              <a:ext uri="{FF2B5EF4-FFF2-40B4-BE49-F238E27FC236}">
                <a16:creationId xmlns:a16="http://schemas.microsoft.com/office/drawing/2014/main" id="{A998FD56-F937-C48E-9827-C6F36D311900}"/>
              </a:ext>
            </a:extLst>
          </p:cNvPr>
          <p:cNvSpPr/>
          <p:nvPr/>
        </p:nvSpPr>
        <p:spPr>
          <a:xfrm>
            <a:off x="7748529" y="2450759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" name="Freeform 145">
            <a:extLst>
              <a:ext uri="{FF2B5EF4-FFF2-40B4-BE49-F238E27FC236}">
                <a16:creationId xmlns:a16="http://schemas.microsoft.com/office/drawing/2014/main" id="{F2AE1C3B-3D3F-769D-973B-90388F2EC586}"/>
              </a:ext>
            </a:extLst>
          </p:cNvPr>
          <p:cNvSpPr/>
          <p:nvPr/>
        </p:nvSpPr>
        <p:spPr>
          <a:xfrm>
            <a:off x="7765039" y="2394436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1" name="Freeform 146">
            <a:extLst>
              <a:ext uri="{FF2B5EF4-FFF2-40B4-BE49-F238E27FC236}">
                <a16:creationId xmlns:a16="http://schemas.microsoft.com/office/drawing/2014/main" id="{D4072ADC-9FE9-0CD3-C64C-9D7284FB6A27}"/>
              </a:ext>
            </a:extLst>
          </p:cNvPr>
          <p:cNvSpPr/>
          <p:nvPr/>
        </p:nvSpPr>
        <p:spPr>
          <a:xfrm>
            <a:off x="7699551" y="245075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2" name="Freeform 148">
            <a:extLst>
              <a:ext uri="{FF2B5EF4-FFF2-40B4-BE49-F238E27FC236}">
                <a16:creationId xmlns:a16="http://schemas.microsoft.com/office/drawing/2014/main" id="{F7BC541B-90C2-6C6C-B74C-A3860B978C5C}"/>
              </a:ext>
            </a:extLst>
          </p:cNvPr>
          <p:cNvSpPr/>
          <p:nvPr/>
        </p:nvSpPr>
        <p:spPr>
          <a:xfrm>
            <a:off x="7574630" y="2394436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3" name="Freeform 149">
            <a:extLst>
              <a:ext uri="{FF2B5EF4-FFF2-40B4-BE49-F238E27FC236}">
                <a16:creationId xmlns:a16="http://schemas.microsoft.com/office/drawing/2014/main" id="{6654BA42-D6CD-2F11-2C83-7F948BE94910}"/>
              </a:ext>
            </a:extLst>
          </p:cNvPr>
          <p:cNvSpPr/>
          <p:nvPr/>
        </p:nvSpPr>
        <p:spPr>
          <a:xfrm>
            <a:off x="7508593" y="245075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4" name="Freeform 151">
            <a:extLst>
              <a:ext uri="{FF2B5EF4-FFF2-40B4-BE49-F238E27FC236}">
                <a16:creationId xmlns:a16="http://schemas.microsoft.com/office/drawing/2014/main" id="{C9283FA6-3434-2273-4B0C-59B3832C1C1B}"/>
              </a:ext>
            </a:extLst>
          </p:cNvPr>
          <p:cNvSpPr/>
          <p:nvPr/>
        </p:nvSpPr>
        <p:spPr>
          <a:xfrm>
            <a:off x="7522901" y="236225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5" name="Freeform 152">
            <a:extLst>
              <a:ext uri="{FF2B5EF4-FFF2-40B4-BE49-F238E27FC236}">
                <a16:creationId xmlns:a16="http://schemas.microsoft.com/office/drawing/2014/main" id="{454ABA87-0E19-8306-5F69-80FE344F5D8E}"/>
              </a:ext>
            </a:extLst>
          </p:cNvPr>
          <p:cNvSpPr/>
          <p:nvPr/>
        </p:nvSpPr>
        <p:spPr>
          <a:xfrm>
            <a:off x="7456864" y="2419048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6" name="Freeform 154">
            <a:extLst>
              <a:ext uri="{FF2B5EF4-FFF2-40B4-BE49-F238E27FC236}">
                <a16:creationId xmlns:a16="http://schemas.microsoft.com/office/drawing/2014/main" id="{5DBB4C5D-652E-30F1-DBBE-103E9CC5516C}"/>
              </a:ext>
            </a:extLst>
          </p:cNvPr>
          <p:cNvSpPr/>
          <p:nvPr/>
        </p:nvSpPr>
        <p:spPr>
          <a:xfrm>
            <a:off x="7411737" y="236225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7" name="Freeform 155">
            <a:extLst>
              <a:ext uri="{FF2B5EF4-FFF2-40B4-BE49-F238E27FC236}">
                <a16:creationId xmlns:a16="http://schemas.microsoft.com/office/drawing/2014/main" id="{1A575307-B1D4-5946-A778-63B0B0521E98}"/>
              </a:ext>
            </a:extLst>
          </p:cNvPr>
          <p:cNvSpPr/>
          <p:nvPr/>
        </p:nvSpPr>
        <p:spPr>
          <a:xfrm>
            <a:off x="7345700" y="2419048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7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7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8" name="Freeform 157">
            <a:extLst>
              <a:ext uri="{FF2B5EF4-FFF2-40B4-BE49-F238E27FC236}">
                <a16:creationId xmlns:a16="http://schemas.microsoft.com/office/drawing/2014/main" id="{00FF94FD-8F70-A7BE-AFFC-043C154E3007}"/>
              </a:ext>
            </a:extLst>
          </p:cNvPr>
          <p:cNvSpPr/>
          <p:nvPr/>
        </p:nvSpPr>
        <p:spPr>
          <a:xfrm>
            <a:off x="7401831" y="232864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9" name="Freeform 158">
            <a:extLst>
              <a:ext uri="{FF2B5EF4-FFF2-40B4-BE49-F238E27FC236}">
                <a16:creationId xmlns:a16="http://schemas.microsoft.com/office/drawing/2014/main" id="{86ACFBCD-187F-C475-8918-E0EE8F1FC899}"/>
              </a:ext>
            </a:extLst>
          </p:cNvPr>
          <p:cNvSpPr/>
          <p:nvPr/>
        </p:nvSpPr>
        <p:spPr>
          <a:xfrm>
            <a:off x="7336345" y="238544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0" name="Freeform 160">
            <a:extLst>
              <a:ext uri="{FF2B5EF4-FFF2-40B4-BE49-F238E27FC236}">
                <a16:creationId xmlns:a16="http://schemas.microsoft.com/office/drawing/2014/main" id="{E7E9213E-C1BD-5CC1-95F1-A8A11CEFA5B9}"/>
              </a:ext>
            </a:extLst>
          </p:cNvPr>
          <p:cNvSpPr/>
          <p:nvPr/>
        </p:nvSpPr>
        <p:spPr>
          <a:xfrm>
            <a:off x="7373765" y="232864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1" name="Freeform 161">
            <a:extLst>
              <a:ext uri="{FF2B5EF4-FFF2-40B4-BE49-F238E27FC236}">
                <a16:creationId xmlns:a16="http://schemas.microsoft.com/office/drawing/2014/main" id="{48B0B9C8-A3AE-6138-768C-EF1C38BB60BF}"/>
              </a:ext>
            </a:extLst>
          </p:cNvPr>
          <p:cNvSpPr/>
          <p:nvPr/>
        </p:nvSpPr>
        <p:spPr>
          <a:xfrm>
            <a:off x="7308279" y="238544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2" name="Freeform 163">
            <a:extLst>
              <a:ext uri="{FF2B5EF4-FFF2-40B4-BE49-F238E27FC236}">
                <a16:creationId xmlns:a16="http://schemas.microsoft.com/office/drawing/2014/main" id="{565FBD2C-D27E-5ECB-022E-6CCEDC940B06}"/>
              </a:ext>
            </a:extLst>
          </p:cNvPr>
          <p:cNvSpPr/>
          <p:nvPr/>
        </p:nvSpPr>
        <p:spPr>
          <a:xfrm>
            <a:off x="7234536" y="232864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3" name="Freeform 164">
            <a:extLst>
              <a:ext uri="{FF2B5EF4-FFF2-40B4-BE49-F238E27FC236}">
                <a16:creationId xmlns:a16="http://schemas.microsoft.com/office/drawing/2014/main" id="{ABB1EB66-C613-C197-CB4B-68DCEF31C645}"/>
              </a:ext>
            </a:extLst>
          </p:cNvPr>
          <p:cNvSpPr/>
          <p:nvPr/>
        </p:nvSpPr>
        <p:spPr>
          <a:xfrm>
            <a:off x="7168499" y="238544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4" name="Freeform 166">
            <a:extLst>
              <a:ext uri="{FF2B5EF4-FFF2-40B4-BE49-F238E27FC236}">
                <a16:creationId xmlns:a16="http://schemas.microsoft.com/office/drawing/2014/main" id="{36A6BA65-E54F-DCFB-4EEA-045440188077}"/>
              </a:ext>
            </a:extLst>
          </p:cNvPr>
          <p:cNvSpPr/>
          <p:nvPr/>
        </p:nvSpPr>
        <p:spPr>
          <a:xfrm>
            <a:off x="7156942" y="232864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5" name="Freeform 167">
            <a:extLst>
              <a:ext uri="{FF2B5EF4-FFF2-40B4-BE49-F238E27FC236}">
                <a16:creationId xmlns:a16="http://schemas.microsoft.com/office/drawing/2014/main" id="{A7923153-80DC-EA07-7A26-5A71629C7EB3}"/>
              </a:ext>
            </a:extLst>
          </p:cNvPr>
          <p:cNvSpPr/>
          <p:nvPr/>
        </p:nvSpPr>
        <p:spPr>
          <a:xfrm>
            <a:off x="7090904" y="2385443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6" name="Freeform 169">
            <a:extLst>
              <a:ext uri="{FF2B5EF4-FFF2-40B4-BE49-F238E27FC236}">
                <a16:creationId xmlns:a16="http://schemas.microsoft.com/office/drawing/2014/main" id="{DE8DBB4A-DCE9-3733-E55A-023ABC3391B9}"/>
              </a:ext>
            </a:extLst>
          </p:cNvPr>
          <p:cNvSpPr/>
          <p:nvPr/>
        </p:nvSpPr>
        <p:spPr>
          <a:xfrm>
            <a:off x="7136031" y="2299776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7" name="Freeform 170">
            <a:extLst>
              <a:ext uri="{FF2B5EF4-FFF2-40B4-BE49-F238E27FC236}">
                <a16:creationId xmlns:a16="http://schemas.microsoft.com/office/drawing/2014/main" id="{9B629EF4-0637-76CC-193F-BDD72ED17BFD}"/>
              </a:ext>
            </a:extLst>
          </p:cNvPr>
          <p:cNvSpPr/>
          <p:nvPr/>
        </p:nvSpPr>
        <p:spPr>
          <a:xfrm>
            <a:off x="7070543" y="2356572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8" name="Freeform 172">
            <a:extLst>
              <a:ext uri="{FF2B5EF4-FFF2-40B4-BE49-F238E27FC236}">
                <a16:creationId xmlns:a16="http://schemas.microsoft.com/office/drawing/2014/main" id="{0AF606E9-8B67-7C62-20EE-55861611249F}"/>
              </a:ext>
            </a:extLst>
          </p:cNvPr>
          <p:cNvSpPr/>
          <p:nvPr/>
        </p:nvSpPr>
        <p:spPr>
          <a:xfrm>
            <a:off x="6997902" y="2299776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9" name="Freeform 173">
            <a:extLst>
              <a:ext uri="{FF2B5EF4-FFF2-40B4-BE49-F238E27FC236}">
                <a16:creationId xmlns:a16="http://schemas.microsoft.com/office/drawing/2014/main" id="{4DCE53BF-C8AF-9484-D7F6-E27D02F43C43}"/>
              </a:ext>
            </a:extLst>
          </p:cNvPr>
          <p:cNvSpPr/>
          <p:nvPr/>
        </p:nvSpPr>
        <p:spPr>
          <a:xfrm>
            <a:off x="6931864" y="2356572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0" name="Freeform 175">
            <a:extLst>
              <a:ext uri="{FF2B5EF4-FFF2-40B4-BE49-F238E27FC236}">
                <a16:creationId xmlns:a16="http://schemas.microsoft.com/office/drawing/2014/main" id="{828C0AF4-D745-BE41-B0F8-0464D848ECCA}"/>
              </a:ext>
            </a:extLst>
          </p:cNvPr>
          <p:cNvSpPr/>
          <p:nvPr/>
        </p:nvSpPr>
        <p:spPr>
          <a:xfrm>
            <a:off x="6969285" y="2299776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1" name="Freeform 176">
            <a:extLst>
              <a:ext uri="{FF2B5EF4-FFF2-40B4-BE49-F238E27FC236}">
                <a16:creationId xmlns:a16="http://schemas.microsoft.com/office/drawing/2014/main" id="{CD9F99D0-39E8-F786-4DC7-5D1DC144B9EA}"/>
              </a:ext>
            </a:extLst>
          </p:cNvPr>
          <p:cNvSpPr/>
          <p:nvPr/>
        </p:nvSpPr>
        <p:spPr>
          <a:xfrm>
            <a:off x="6903248" y="2356572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2" name="Freeform 178">
            <a:extLst>
              <a:ext uri="{FF2B5EF4-FFF2-40B4-BE49-F238E27FC236}">
                <a16:creationId xmlns:a16="http://schemas.microsoft.com/office/drawing/2014/main" id="{71BD5661-0B19-B98E-A7C6-55D817575310}"/>
              </a:ext>
            </a:extLst>
          </p:cNvPr>
          <p:cNvSpPr/>
          <p:nvPr/>
        </p:nvSpPr>
        <p:spPr>
          <a:xfrm>
            <a:off x="6943971" y="227469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3" name="Freeform 179">
            <a:extLst>
              <a:ext uri="{FF2B5EF4-FFF2-40B4-BE49-F238E27FC236}">
                <a16:creationId xmlns:a16="http://schemas.microsoft.com/office/drawing/2014/main" id="{205D89CA-6271-456A-883E-64C0DE097E6C}"/>
              </a:ext>
            </a:extLst>
          </p:cNvPr>
          <p:cNvSpPr/>
          <p:nvPr/>
        </p:nvSpPr>
        <p:spPr>
          <a:xfrm>
            <a:off x="6878484" y="233148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4" name="Freeform 181">
            <a:extLst>
              <a:ext uri="{FF2B5EF4-FFF2-40B4-BE49-F238E27FC236}">
                <a16:creationId xmlns:a16="http://schemas.microsoft.com/office/drawing/2014/main" id="{A85AB4A2-CA2D-992F-DB18-16960D928638}"/>
              </a:ext>
            </a:extLst>
          </p:cNvPr>
          <p:cNvSpPr/>
          <p:nvPr/>
        </p:nvSpPr>
        <p:spPr>
          <a:xfrm>
            <a:off x="6915354" y="227469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5" name="Freeform 182">
            <a:extLst>
              <a:ext uri="{FF2B5EF4-FFF2-40B4-BE49-F238E27FC236}">
                <a16:creationId xmlns:a16="http://schemas.microsoft.com/office/drawing/2014/main" id="{2D0C305E-88DD-8514-1B66-9BB87E74BD47}"/>
              </a:ext>
            </a:extLst>
          </p:cNvPr>
          <p:cNvSpPr/>
          <p:nvPr/>
        </p:nvSpPr>
        <p:spPr>
          <a:xfrm>
            <a:off x="6849868" y="233148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6" name="Freeform 184">
            <a:extLst>
              <a:ext uri="{FF2B5EF4-FFF2-40B4-BE49-F238E27FC236}">
                <a16:creationId xmlns:a16="http://schemas.microsoft.com/office/drawing/2014/main" id="{36F4E2F8-CEE3-4162-2874-430689A39B24}"/>
              </a:ext>
            </a:extLst>
          </p:cNvPr>
          <p:cNvSpPr/>
          <p:nvPr/>
        </p:nvSpPr>
        <p:spPr>
          <a:xfrm>
            <a:off x="6894444" y="2250079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7" name="Freeform 185">
            <a:extLst>
              <a:ext uri="{FF2B5EF4-FFF2-40B4-BE49-F238E27FC236}">
                <a16:creationId xmlns:a16="http://schemas.microsoft.com/office/drawing/2014/main" id="{EC9B4066-4A65-CACA-8B80-C48E62261D37}"/>
              </a:ext>
            </a:extLst>
          </p:cNvPr>
          <p:cNvSpPr/>
          <p:nvPr/>
        </p:nvSpPr>
        <p:spPr>
          <a:xfrm>
            <a:off x="6828405" y="2306875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8" name="Freeform 187">
            <a:extLst>
              <a:ext uri="{FF2B5EF4-FFF2-40B4-BE49-F238E27FC236}">
                <a16:creationId xmlns:a16="http://schemas.microsoft.com/office/drawing/2014/main" id="{03A5C3D5-9E44-483C-BF81-8970266A2BDE}"/>
              </a:ext>
            </a:extLst>
          </p:cNvPr>
          <p:cNvSpPr/>
          <p:nvPr/>
        </p:nvSpPr>
        <p:spPr>
          <a:xfrm>
            <a:off x="6776125" y="222452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9" name="Freeform 188">
            <a:extLst>
              <a:ext uri="{FF2B5EF4-FFF2-40B4-BE49-F238E27FC236}">
                <a16:creationId xmlns:a16="http://schemas.microsoft.com/office/drawing/2014/main" id="{B994E283-08B8-9431-A5F2-87F8E1DDDFF9}"/>
              </a:ext>
            </a:extLst>
          </p:cNvPr>
          <p:cNvSpPr/>
          <p:nvPr/>
        </p:nvSpPr>
        <p:spPr>
          <a:xfrm>
            <a:off x="6710088" y="228084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0" name="Freeform 190">
            <a:extLst>
              <a:ext uri="{FF2B5EF4-FFF2-40B4-BE49-F238E27FC236}">
                <a16:creationId xmlns:a16="http://schemas.microsoft.com/office/drawing/2014/main" id="{446345C8-CF25-8B49-027A-11CE6F6DA982}"/>
              </a:ext>
            </a:extLst>
          </p:cNvPr>
          <p:cNvSpPr/>
          <p:nvPr/>
        </p:nvSpPr>
        <p:spPr>
          <a:xfrm>
            <a:off x="6733751" y="222452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1" name="Freeform 191">
            <a:extLst>
              <a:ext uri="{FF2B5EF4-FFF2-40B4-BE49-F238E27FC236}">
                <a16:creationId xmlns:a16="http://schemas.microsoft.com/office/drawing/2014/main" id="{3D487A67-3E54-4362-611F-85F5D7E271B9}"/>
              </a:ext>
            </a:extLst>
          </p:cNvPr>
          <p:cNvSpPr/>
          <p:nvPr/>
        </p:nvSpPr>
        <p:spPr>
          <a:xfrm>
            <a:off x="6668265" y="228084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2" name="Freeform 193">
            <a:extLst>
              <a:ext uri="{FF2B5EF4-FFF2-40B4-BE49-F238E27FC236}">
                <a16:creationId xmlns:a16="http://schemas.microsoft.com/office/drawing/2014/main" id="{16A10CEC-EFE1-BC33-8C4C-657954CF18BA}"/>
              </a:ext>
            </a:extLst>
          </p:cNvPr>
          <p:cNvSpPr/>
          <p:nvPr/>
        </p:nvSpPr>
        <p:spPr>
          <a:xfrm>
            <a:off x="6717242" y="222452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3" name="Freeform 194">
            <a:extLst>
              <a:ext uri="{FF2B5EF4-FFF2-40B4-BE49-F238E27FC236}">
                <a16:creationId xmlns:a16="http://schemas.microsoft.com/office/drawing/2014/main" id="{A4BC3397-9E04-B881-8A1B-C95CDA4AA1E9}"/>
              </a:ext>
            </a:extLst>
          </p:cNvPr>
          <p:cNvSpPr/>
          <p:nvPr/>
        </p:nvSpPr>
        <p:spPr>
          <a:xfrm>
            <a:off x="6651755" y="228084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4" name="Freeform 196">
            <a:extLst>
              <a:ext uri="{FF2B5EF4-FFF2-40B4-BE49-F238E27FC236}">
                <a16:creationId xmlns:a16="http://schemas.microsoft.com/office/drawing/2014/main" id="{4E3B5A44-71BA-BB29-1F48-91BCD13A7DB5}"/>
              </a:ext>
            </a:extLst>
          </p:cNvPr>
          <p:cNvSpPr/>
          <p:nvPr/>
        </p:nvSpPr>
        <p:spPr>
          <a:xfrm>
            <a:off x="6711739" y="222452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5" name="Freeform 197">
            <a:extLst>
              <a:ext uri="{FF2B5EF4-FFF2-40B4-BE49-F238E27FC236}">
                <a16:creationId xmlns:a16="http://schemas.microsoft.com/office/drawing/2014/main" id="{190C3760-8D91-0719-E1DE-BA701451EEBD}"/>
              </a:ext>
            </a:extLst>
          </p:cNvPr>
          <p:cNvSpPr/>
          <p:nvPr/>
        </p:nvSpPr>
        <p:spPr>
          <a:xfrm>
            <a:off x="6646252" y="228084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6" name="Freeform 199">
            <a:extLst>
              <a:ext uri="{FF2B5EF4-FFF2-40B4-BE49-F238E27FC236}">
                <a16:creationId xmlns:a16="http://schemas.microsoft.com/office/drawing/2014/main" id="{2643E001-7772-B1FB-AD85-5E10EC9440EF}"/>
              </a:ext>
            </a:extLst>
          </p:cNvPr>
          <p:cNvSpPr/>
          <p:nvPr/>
        </p:nvSpPr>
        <p:spPr>
          <a:xfrm>
            <a:off x="6541692" y="2180030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7" name="Freeform 200">
            <a:extLst>
              <a:ext uri="{FF2B5EF4-FFF2-40B4-BE49-F238E27FC236}">
                <a16:creationId xmlns:a16="http://schemas.microsoft.com/office/drawing/2014/main" id="{1079F967-0388-5B8B-A495-3806888F9EAE}"/>
              </a:ext>
            </a:extLst>
          </p:cNvPr>
          <p:cNvSpPr/>
          <p:nvPr/>
        </p:nvSpPr>
        <p:spPr>
          <a:xfrm>
            <a:off x="6476205" y="223635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8" name="Freeform 202">
            <a:extLst>
              <a:ext uri="{FF2B5EF4-FFF2-40B4-BE49-F238E27FC236}">
                <a16:creationId xmlns:a16="http://schemas.microsoft.com/office/drawing/2014/main" id="{CE7DA058-74B2-3C83-6CDD-6F48F6A7562F}"/>
              </a:ext>
            </a:extLst>
          </p:cNvPr>
          <p:cNvSpPr/>
          <p:nvPr/>
        </p:nvSpPr>
        <p:spPr>
          <a:xfrm>
            <a:off x="6454743" y="2180030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9" name="Freeform 203">
            <a:extLst>
              <a:ext uri="{FF2B5EF4-FFF2-40B4-BE49-F238E27FC236}">
                <a16:creationId xmlns:a16="http://schemas.microsoft.com/office/drawing/2014/main" id="{47AFE702-59A2-D589-165D-FF01333C1B20}"/>
              </a:ext>
            </a:extLst>
          </p:cNvPr>
          <p:cNvSpPr/>
          <p:nvPr/>
        </p:nvSpPr>
        <p:spPr>
          <a:xfrm>
            <a:off x="6388706" y="2236353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0" name="Freeform 205">
            <a:extLst>
              <a:ext uri="{FF2B5EF4-FFF2-40B4-BE49-F238E27FC236}">
                <a16:creationId xmlns:a16="http://schemas.microsoft.com/office/drawing/2014/main" id="{41F01596-A1B0-BCCB-D0B6-0E9D2C863845}"/>
              </a:ext>
            </a:extLst>
          </p:cNvPr>
          <p:cNvSpPr/>
          <p:nvPr/>
        </p:nvSpPr>
        <p:spPr>
          <a:xfrm>
            <a:off x="6364491" y="2180030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1" name="Freeform 206">
            <a:extLst>
              <a:ext uri="{FF2B5EF4-FFF2-40B4-BE49-F238E27FC236}">
                <a16:creationId xmlns:a16="http://schemas.microsoft.com/office/drawing/2014/main" id="{F7010F3B-F984-B074-8D18-EA2A41835DED}"/>
              </a:ext>
            </a:extLst>
          </p:cNvPr>
          <p:cNvSpPr/>
          <p:nvPr/>
        </p:nvSpPr>
        <p:spPr>
          <a:xfrm>
            <a:off x="6298454" y="2236353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2" name="Freeform 208">
            <a:extLst>
              <a:ext uri="{FF2B5EF4-FFF2-40B4-BE49-F238E27FC236}">
                <a16:creationId xmlns:a16="http://schemas.microsoft.com/office/drawing/2014/main" id="{1A983DD5-A9CA-39D5-744B-B6188BAC494E}"/>
              </a:ext>
            </a:extLst>
          </p:cNvPr>
          <p:cNvSpPr/>
          <p:nvPr/>
        </p:nvSpPr>
        <p:spPr>
          <a:xfrm>
            <a:off x="6300655" y="2180030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3" name="Freeform 209">
            <a:extLst>
              <a:ext uri="{FF2B5EF4-FFF2-40B4-BE49-F238E27FC236}">
                <a16:creationId xmlns:a16="http://schemas.microsoft.com/office/drawing/2014/main" id="{F4149E71-6AD6-96A3-0036-A008D35D9885}"/>
              </a:ext>
            </a:extLst>
          </p:cNvPr>
          <p:cNvSpPr/>
          <p:nvPr/>
        </p:nvSpPr>
        <p:spPr>
          <a:xfrm>
            <a:off x="6234617" y="223635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4" name="Freeform 211">
            <a:extLst>
              <a:ext uri="{FF2B5EF4-FFF2-40B4-BE49-F238E27FC236}">
                <a16:creationId xmlns:a16="http://schemas.microsoft.com/office/drawing/2014/main" id="{60FB8E78-9ACD-9F42-D9F0-51C09D43A51A}"/>
              </a:ext>
            </a:extLst>
          </p:cNvPr>
          <p:cNvSpPr/>
          <p:nvPr/>
        </p:nvSpPr>
        <p:spPr>
          <a:xfrm>
            <a:off x="6294601" y="2180030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5" name="Freeform 212">
            <a:extLst>
              <a:ext uri="{FF2B5EF4-FFF2-40B4-BE49-F238E27FC236}">
                <a16:creationId xmlns:a16="http://schemas.microsoft.com/office/drawing/2014/main" id="{FF00F6CF-B5B3-88BA-2E08-75BDECCCB2EC}"/>
              </a:ext>
            </a:extLst>
          </p:cNvPr>
          <p:cNvSpPr/>
          <p:nvPr/>
        </p:nvSpPr>
        <p:spPr>
          <a:xfrm>
            <a:off x="6228564" y="223635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6" name="Freeform 214">
            <a:extLst>
              <a:ext uri="{FF2B5EF4-FFF2-40B4-BE49-F238E27FC236}">
                <a16:creationId xmlns:a16="http://schemas.microsoft.com/office/drawing/2014/main" id="{605A62CE-FAD8-674F-1066-BEDB37C35EA3}"/>
              </a:ext>
            </a:extLst>
          </p:cNvPr>
          <p:cNvSpPr/>
          <p:nvPr/>
        </p:nvSpPr>
        <p:spPr>
          <a:xfrm>
            <a:off x="6220309" y="215731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7" name="Freeform 215">
            <a:extLst>
              <a:ext uri="{FF2B5EF4-FFF2-40B4-BE49-F238E27FC236}">
                <a16:creationId xmlns:a16="http://schemas.microsoft.com/office/drawing/2014/main" id="{FFF66842-319F-554D-C93A-4D71D6148ED7}"/>
              </a:ext>
            </a:extLst>
          </p:cNvPr>
          <p:cNvSpPr/>
          <p:nvPr/>
        </p:nvSpPr>
        <p:spPr>
          <a:xfrm>
            <a:off x="6154272" y="2214108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8" name="Freeform 217">
            <a:extLst>
              <a:ext uri="{FF2B5EF4-FFF2-40B4-BE49-F238E27FC236}">
                <a16:creationId xmlns:a16="http://schemas.microsoft.com/office/drawing/2014/main" id="{5E1E8004-0230-2730-DD51-82B1151CC7A0}"/>
              </a:ext>
            </a:extLst>
          </p:cNvPr>
          <p:cNvSpPr/>
          <p:nvPr/>
        </p:nvSpPr>
        <p:spPr>
          <a:xfrm>
            <a:off x="6091536" y="2136486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9" name="Freeform 218">
            <a:extLst>
              <a:ext uri="{FF2B5EF4-FFF2-40B4-BE49-F238E27FC236}">
                <a16:creationId xmlns:a16="http://schemas.microsoft.com/office/drawing/2014/main" id="{9D393AD6-C15C-1127-BB1E-279B88BF383B}"/>
              </a:ext>
            </a:extLst>
          </p:cNvPr>
          <p:cNvSpPr/>
          <p:nvPr/>
        </p:nvSpPr>
        <p:spPr>
          <a:xfrm>
            <a:off x="6025499" y="2192809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0" name="Freeform 220">
            <a:extLst>
              <a:ext uri="{FF2B5EF4-FFF2-40B4-BE49-F238E27FC236}">
                <a16:creationId xmlns:a16="http://schemas.microsoft.com/office/drawing/2014/main" id="{81390A1D-9757-1584-2969-44A423C496BA}"/>
              </a:ext>
            </a:extLst>
          </p:cNvPr>
          <p:cNvSpPr/>
          <p:nvPr/>
        </p:nvSpPr>
        <p:spPr>
          <a:xfrm>
            <a:off x="5966615" y="2114714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1" name="Freeform 221">
            <a:extLst>
              <a:ext uri="{FF2B5EF4-FFF2-40B4-BE49-F238E27FC236}">
                <a16:creationId xmlns:a16="http://schemas.microsoft.com/office/drawing/2014/main" id="{AA68422F-E340-A5A5-5B9C-B273A5A4F49A}"/>
              </a:ext>
            </a:extLst>
          </p:cNvPr>
          <p:cNvSpPr/>
          <p:nvPr/>
        </p:nvSpPr>
        <p:spPr>
          <a:xfrm>
            <a:off x="5900578" y="2171511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2" name="Freeform 223">
            <a:extLst>
              <a:ext uri="{FF2B5EF4-FFF2-40B4-BE49-F238E27FC236}">
                <a16:creationId xmlns:a16="http://schemas.microsoft.com/office/drawing/2014/main" id="{4EED967E-4DC9-D0A4-B331-35A97A0D90E0}"/>
              </a:ext>
            </a:extLst>
          </p:cNvPr>
          <p:cNvSpPr/>
          <p:nvPr/>
        </p:nvSpPr>
        <p:spPr>
          <a:xfrm>
            <a:off x="5678250" y="2095309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3" name="Freeform 224">
            <a:extLst>
              <a:ext uri="{FF2B5EF4-FFF2-40B4-BE49-F238E27FC236}">
                <a16:creationId xmlns:a16="http://schemas.microsoft.com/office/drawing/2014/main" id="{27168DD8-867D-4C77-CC69-7430CAC43364}"/>
              </a:ext>
            </a:extLst>
          </p:cNvPr>
          <p:cNvSpPr/>
          <p:nvPr/>
        </p:nvSpPr>
        <p:spPr>
          <a:xfrm>
            <a:off x="5612213" y="2152105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7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7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4" name="Freeform 226">
            <a:extLst>
              <a:ext uri="{FF2B5EF4-FFF2-40B4-BE49-F238E27FC236}">
                <a16:creationId xmlns:a16="http://schemas.microsoft.com/office/drawing/2014/main" id="{D8A7119A-1207-E335-CA32-3193F0FAFF78}"/>
              </a:ext>
            </a:extLst>
          </p:cNvPr>
          <p:cNvSpPr/>
          <p:nvPr/>
        </p:nvSpPr>
        <p:spPr>
          <a:xfrm>
            <a:off x="5513157" y="205413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5" name="Freeform 227">
            <a:extLst>
              <a:ext uri="{FF2B5EF4-FFF2-40B4-BE49-F238E27FC236}">
                <a16:creationId xmlns:a16="http://schemas.microsoft.com/office/drawing/2014/main" id="{7E3F9741-BBAC-751D-EE23-9D5842A28BB6}"/>
              </a:ext>
            </a:extLst>
          </p:cNvPr>
          <p:cNvSpPr/>
          <p:nvPr/>
        </p:nvSpPr>
        <p:spPr>
          <a:xfrm>
            <a:off x="5447120" y="2110455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6" name="Freeform 229">
            <a:extLst>
              <a:ext uri="{FF2B5EF4-FFF2-40B4-BE49-F238E27FC236}">
                <a16:creationId xmlns:a16="http://schemas.microsoft.com/office/drawing/2014/main" id="{4C5A1F2A-8D2D-4A77-5E90-5E63C6C7AD58}"/>
              </a:ext>
            </a:extLst>
          </p:cNvPr>
          <p:cNvSpPr/>
          <p:nvPr/>
        </p:nvSpPr>
        <p:spPr>
          <a:xfrm>
            <a:off x="5447120" y="205413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7" name="Freeform 230">
            <a:extLst>
              <a:ext uri="{FF2B5EF4-FFF2-40B4-BE49-F238E27FC236}">
                <a16:creationId xmlns:a16="http://schemas.microsoft.com/office/drawing/2014/main" id="{1749412A-4814-8A1F-D9F2-40349A2023F6}"/>
              </a:ext>
            </a:extLst>
          </p:cNvPr>
          <p:cNvSpPr/>
          <p:nvPr/>
        </p:nvSpPr>
        <p:spPr>
          <a:xfrm>
            <a:off x="5381632" y="2110455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8" name="Freeform 232">
            <a:extLst>
              <a:ext uri="{FF2B5EF4-FFF2-40B4-BE49-F238E27FC236}">
                <a16:creationId xmlns:a16="http://schemas.microsoft.com/office/drawing/2014/main" id="{F1BC9D54-1123-8CDF-3615-4752C6172407}"/>
              </a:ext>
            </a:extLst>
          </p:cNvPr>
          <p:cNvSpPr/>
          <p:nvPr/>
        </p:nvSpPr>
        <p:spPr>
          <a:xfrm>
            <a:off x="5274872" y="201437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9" name="Freeform 233">
            <a:extLst>
              <a:ext uri="{FF2B5EF4-FFF2-40B4-BE49-F238E27FC236}">
                <a16:creationId xmlns:a16="http://schemas.microsoft.com/office/drawing/2014/main" id="{05AEB689-279B-6602-377B-ADF28209722C}"/>
              </a:ext>
            </a:extLst>
          </p:cNvPr>
          <p:cNvSpPr/>
          <p:nvPr/>
        </p:nvSpPr>
        <p:spPr>
          <a:xfrm>
            <a:off x="5209384" y="207069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0" name="Freeform 235">
            <a:extLst>
              <a:ext uri="{FF2B5EF4-FFF2-40B4-BE49-F238E27FC236}">
                <a16:creationId xmlns:a16="http://schemas.microsoft.com/office/drawing/2014/main" id="{F35B0C85-E11F-7299-709B-B1A7CBEE140D}"/>
              </a:ext>
            </a:extLst>
          </p:cNvPr>
          <p:cNvSpPr/>
          <p:nvPr/>
        </p:nvSpPr>
        <p:spPr>
          <a:xfrm>
            <a:off x="5249007" y="1995916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1" name="Freeform 236">
            <a:extLst>
              <a:ext uri="{FF2B5EF4-FFF2-40B4-BE49-F238E27FC236}">
                <a16:creationId xmlns:a16="http://schemas.microsoft.com/office/drawing/2014/main" id="{D26124A5-0C82-F0E3-EC92-B3793F8FE804}"/>
              </a:ext>
            </a:extLst>
          </p:cNvPr>
          <p:cNvSpPr/>
          <p:nvPr/>
        </p:nvSpPr>
        <p:spPr>
          <a:xfrm>
            <a:off x="5183520" y="2052238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2" name="Freeform 238">
            <a:extLst>
              <a:ext uri="{FF2B5EF4-FFF2-40B4-BE49-F238E27FC236}">
                <a16:creationId xmlns:a16="http://schemas.microsoft.com/office/drawing/2014/main" id="{57E98460-29B3-F84C-138A-FDC9CF8867C6}"/>
              </a:ext>
            </a:extLst>
          </p:cNvPr>
          <p:cNvSpPr/>
          <p:nvPr/>
        </p:nvSpPr>
        <p:spPr>
          <a:xfrm>
            <a:off x="5157655" y="197556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3" name="Freeform 239">
            <a:extLst>
              <a:ext uri="{FF2B5EF4-FFF2-40B4-BE49-F238E27FC236}">
                <a16:creationId xmlns:a16="http://schemas.microsoft.com/office/drawing/2014/main" id="{6C4C26D5-D80F-E434-5368-22BDDC9A13D4}"/>
              </a:ext>
            </a:extLst>
          </p:cNvPr>
          <p:cNvSpPr/>
          <p:nvPr/>
        </p:nvSpPr>
        <p:spPr>
          <a:xfrm>
            <a:off x="5091618" y="2031886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4" name="Freeform 241">
            <a:extLst>
              <a:ext uri="{FF2B5EF4-FFF2-40B4-BE49-F238E27FC236}">
                <a16:creationId xmlns:a16="http://schemas.microsoft.com/office/drawing/2014/main" id="{A727AC76-4FB9-CBA9-A08F-4A24836ABD58}"/>
              </a:ext>
            </a:extLst>
          </p:cNvPr>
          <p:cNvSpPr/>
          <p:nvPr/>
        </p:nvSpPr>
        <p:spPr>
          <a:xfrm>
            <a:off x="5039887" y="195805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5" name="Freeform 242">
            <a:extLst>
              <a:ext uri="{FF2B5EF4-FFF2-40B4-BE49-F238E27FC236}">
                <a16:creationId xmlns:a16="http://schemas.microsoft.com/office/drawing/2014/main" id="{793DBF56-19F8-BC6F-C07E-D8D8512B6826}"/>
              </a:ext>
            </a:extLst>
          </p:cNvPr>
          <p:cNvSpPr/>
          <p:nvPr/>
        </p:nvSpPr>
        <p:spPr>
          <a:xfrm>
            <a:off x="4974401" y="2014848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6" name="Freeform 244">
            <a:extLst>
              <a:ext uri="{FF2B5EF4-FFF2-40B4-BE49-F238E27FC236}">
                <a16:creationId xmlns:a16="http://schemas.microsoft.com/office/drawing/2014/main" id="{5A6D7A25-873B-7E03-7314-B728A4212AC0}"/>
              </a:ext>
            </a:extLst>
          </p:cNvPr>
          <p:cNvSpPr/>
          <p:nvPr/>
        </p:nvSpPr>
        <p:spPr>
          <a:xfrm>
            <a:off x="4989809" y="195805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7" name="Freeform 245">
            <a:extLst>
              <a:ext uri="{FF2B5EF4-FFF2-40B4-BE49-F238E27FC236}">
                <a16:creationId xmlns:a16="http://schemas.microsoft.com/office/drawing/2014/main" id="{6D1D4ECE-7E62-1443-60B8-467EB35AE86C}"/>
              </a:ext>
            </a:extLst>
          </p:cNvPr>
          <p:cNvSpPr/>
          <p:nvPr/>
        </p:nvSpPr>
        <p:spPr>
          <a:xfrm>
            <a:off x="4924322" y="2014848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8" name="Freeform 247">
            <a:extLst>
              <a:ext uri="{FF2B5EF4-FFF2-40B4-BE49-F238E27FC236}">
                <a16:creationId xmlns:a16="http://schemas.microsoft.com/office/drawing/2014/main" id="{CFE0E996-64AC-F3C7-031B-70B793D2CB88}"/>
              </a:ext>
            </a:extLst>
          </p:cNvPr>
          <p:cNvSpPr/>
          <p:nvPr/>
        </p:nvSpPr>
        <p:spPr>
          <a:xfrm>
            <a:off x="4888002" y="1939592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9" name="Freeform 248">
            <a:extLst>
              <a:ext uri="{FF2B5EF4-FFF2-40B4-BE49-F238E27FC236}">
                <a16:creationId xmlns:a16="http://schemas.microsoft.com/office/drawing/2014/main" id="{14C2BE61-1FE7-69E4-12DB-34DAD17C5C41}"/>
              </a:ext>
            </a:extLst>
          </p:cNvPr>
          <p:cNvSpPr/>
          <p:nvPr/>
        </p:nvSpPr>
        <p:spPr>
          <a:xfrm>
            <a:off x="4822514" y="199638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0" name="Freeform 250">
            <a:extLst>
              <a:ext uri="{FF2B5EF4-FFF2-40B4-BE49-F238E27FC236}">
                <a16:creationId xmlns:a16="http://schemas.microsoft.com/office/drawing/2014/main" id="{44A35120-EDE1-0879-7A65-604503B4B164}"/>
              </a:ext>
            </a:extLst>
          </p:cNvPr>
          <p:cNvSpPr/>
          <p:nvPr/>
        </p:nvSpPr>
        <p:spPr>
          <a:xfrm>
            <a:off x="4771334" y="192160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1" name="Freeform 251">
            <a:extLst>
              <a:ext uri="{FF2B5EF4-FFF2-40B4-BE49-F238E27FC236}">
                <a16:creationId xmlns:a16="http://schemas.microsoft.com/office/drawing/2014/main" id="{774CF326-8DC1-15B2-536A-10EA5022CFD4}"/>
              </a:ext>
            </a:extLst>
          </p:cNvPr>
          <p:cNvSpPr/>
          <p:nvPr/>
        </p:nvSpPr>
        <p:spPr>
          <a:xfrm>
            <a:off x="4705297" y="1977930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2" name="Freeform 253">
            <a:extLst>
              <a:ext uri="{FF2B5EF4-FFF2-40B4-BE49-F238E27FC236}">
                <a16:creationId xmlns:a16="http://schemas.microsoft.com/office/drawing/2014/main" id="{EE38652B-F67E-25D2-D00B-29B6706A2AAC}"/>
              </a:ext>
            </a:extLst>
          </p:cNvPr>
          <p:cNvSpPr/>
          <p:nvPr/>
        </p:nvSpPr>
        <p:spPr>
          <a:xfrm>
            <a:off x="4550659" y="186954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3" name="Freeform 254">
            <a:extLst>
              <a:ext uri="{FF2B5EF4-FFF2-40B4-BE49-F238E27FC236}">
                <a16:creationId xmlns:a16="http://schemas.microsoft.com/office/drawing/2014/main" id="{E6DA5BE8-205E-4D35-49B5-E13C53EC0C83}"/>
              </a:ext>
            </a:extLst>
          </p:cNvPr>
          <p:cNvSpPr/>
          <p:nvPr/>
        </p:nvSpPr>
        <p:spPr>
          <a:xfrm>
            <a:off x="4484622" y="1925866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4" name="Freeform 256">
            <a:extLst>
              <a:ext uri="{FF2B5EF4-FFF2-40B4-BE49-F238E27FC236}">
                <a16:creationId xmlns:a16="http://schemas.microsoft.com/office/drawing/2014/main" id="{F70045A9-C389-B0DE-F0D0-A8D9E9CD1394}"/>
              </a:ext>
            </a:extLst>
          </p:cNvPr>
          <p:cNvSpPr/>
          <p:nvPr/>
        </p:nvSpPr>
        <p:spPr>
          <a:xfrm>
            <a:off x="4422436" y="183215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5" name="Freeform 257">
            <a:extLst>
              <a:ext uri="{FF2B5EF4-FFF2-40B4-BE49-F238E27FC236}">
                <a16:creationId xmlns:a16="http://schemas.microsoft.com/office/drawing/2014/main" id="{7924A80C-8548-B7F8-67A9-35B7103EF8A3}"/>
              </a:ext>
            </a:extLst>
          </p:cNvPr>
          <p:cNvSpPr/>
          <p:nvPr/>
        </p:nvSpPr>
        <p:spPr>
          <a:xfrm>
            <a:off x="4356949" y="188894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6" name="Freeform 259">
            <a:extLst>
              <a:ext uri="{FF2B5EF4-FFF2-40B4-BE49-F238E27FC236}">
                <a16:creationId xmlns:a16="http://schemas.microsoft.com/office/drawing/2014/main" id="{425CA470-EE72-3765-578A-F08AE75705AE}"/>
              </a:ext>
            </a:extLst>
          </p:cNvPr>
          <p:cNvSpPr/>
          <p:nvPr/>
        </p:nvSpPr>
        <p:spPr>
          <a:xfrm>
            <a:off x="7985163" y="24341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7" name="Freeform 260">
            <a:extLst>
              <a:ext uri="{FF2B5EF4-FFF2-40B4-BE49-F238E27FC236}">
                <a16:creationId xmlns:a16="http://schemas.microsoft.com/office/drawing/2014/main" id="{6EBCB528-23BB-8C09-FBFD-47EEA80FCEEB}"/>
              </a:ext>
            </a:extLst>
          </p:cNvPr>
          <p:cNvSpPr/>
          <p:nvPr/>
        </p:nvSpPr>
        <p:spPr>
          <a:xfrm>
            <a:off x="7919677" y="249051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8" name="Freeform 262">
            <a:extLst>
              <a:ext uri="{FF2B5EF4-FFF2-40B4-BE49-F238E27FC236}">
                <a16:creationId xmlns:a16="http://schemas.microsoft.com/office/drawing/2014/main" id="{97AF37CB-4A4B-9A1C-BBB7-3C49F23556F7}"/>
              </a:ext>
            </a:extLst>
          </p:cNvPr>
          <p:cNvSpPr/>
          <p:nvPr/>
        </p:nvSpPr>
        <p:spPr>
          <a:xfrm>
            <a:off x="3489656" y="1673596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9" name="Freeform 263">
            <a:extLst>
              <a:ext uri="{FF2B5EF4-FFF2-40B4-BE49-F238E27FC236}">
                <a16:creationId xmlns:a16="http://schemas.microsoft.com/office/drawing/2014/main" id="{1CAA8244-E8A9-21D7-7C69-D39F6B456FB6}"/>
              </a:ext>
            </a:extLst>
          </p:cNvPr>
          <p:cNvSpPr/>
          <p:nvPr/>
        </p:nvSpPr>
        <p:spPr>
          <a:xfrm>
            <a:off x="3423617" y="1730392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0" name="Freeform 265">
            <a:extLst>
              <a:ext uri="{FF2B5EF4-FFF2-40B4-BE49-F238E27FC236}">
                <a16:creationId xmlns:a16="http://schemas.microsoft.com/office/drawing/2014/main" id="{E6C8B6E3-FD06-514E-9F70-BF481818DE28}"/>
              </a:ext>
            </a:extLst>
          </p:cNvPr>
          <p:cNvSpPr/>
          <p:nvPr/>
        </p:nvSpPr>
        <p:spPr>
          <a:xfrm>
            <a:off x="3058210" y="1570416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1" name="Freeform 266">
            <a:extLst>
              <a:ext uri="{FF2B5EF4-FFF2-40B4-BE49-F238E27FC236}">
                <a16:creationId xmlns:a16="http://schemas.microsoft.com/office/drawing/2014/main" id="{6202BA43-1160-1A4E-1ECA-C06A7F932375}"/>
              </a:ext>
            </a:extLst>
          </p:cNvPr>
          <p:cNvSpPr/>
          <p:nvPr/>
        </p:nvSpPr>
        <p:spPr>
          <a:xfrm>
            <a:off x="2992723" y="1627212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2" name="Freeform 268">
            <a:extLst>
              <a:ext uri="{FF2B5EF4-FFF2-40B4-BE49-F238E27FC236}">
                <a16:creationId xmlns:a16="http://schemas.microsoft.com/office/drawing/2014/main" id="{AECE8920-D062-51B9-D916-8433C6FEEED1}"/>
              </a:ext>
            </a:extLst>
          </p:cNvPr>
          <p:cNvSpPr/>
          <p:nvPr/>
        </p:nvSpPr>
        <p:spPr>
          <a:xfrm>
            <a:off x="2796811" y="1503208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3" name="Freeform 269">
            <a:extLst>
              <a:ext uri="{FF2B5EF4-FFF2-40B4-BE49-F238E27FC236}">
                <a16:creationId xmlns:a16="http://schemas.microsoft.com/office/drawing/2014/main" id="{C9CB514E-6A85-1F39-6677-0F508075AA30}"/>
              </a:ext>
            </a:extLst>
          </p:cNvPr>
          <p:cNvSpPr/>
          <p:nvPr/>
        </p:nvSpPr>
        <p:spPr>
          <a:xfrm>
            <a:off x="2731324" y="156000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4" name="Freeform 271">
            <a:extLst>
              <a:ext uri="{FF2B5EF4-FFF2-40B4-BE49-F238E27FC236}">
                <a16:creationId xmlns:a16="http://schemas.microsoft.com/office/drawing/2014/main" id="{DB0D4262-C5B0-7FAB-0C03-5F47976948B7}"/>
              </a:ext>
            </a:extLst>
          </p:cNvPr>
          <p:cNvSpPr/>
          <p:nvPr/>
        </p:nvSpPr>
        <p:spPr>
          <a:xfrm>
            <a:off x="2439658" y="1352697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5" name="Freeform 272">
            <a:extLst>
              <a:ext uri="{FF2B5EF4-FFF2-40B4-BE49-F238E27FC236}">
                <a16:creationId xmlns:a16="http://schemas.microsoft.com/office/drawing/2014/main" id="{93C27A0F-3648-3DB8-127C-A0AECEBAEF8F}"/>
              </a:ext>
            </a:extLst>
          </p:cNvPr>
          <p:cNvSpPr/>
          <p:nvPr/>
        </p:nvSpPr>
        <p:spPr>
          <a:xfrm>
            <a:off x="2374171" y="140949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6" name="Freeform 274">
            <a:extLst>
              <a:ext uri="{FF2B5EF4-FFF2-40B4-BE49-F238E27FC236}">
                <a16:creationId xmlns:a16="http://schemas.microsoft.com/office/drawing/2014/main" id="{0C122BF7-A94F-E2AA-8D40-42448F15DE15}"/>
              </a:ext>
            </a:extLst>
          </p:cNvPr>
          <p:cNvSpPr/>
          <p:nvPr/>
        </p:nvSpPr>
        <p:spPr>
          <a:xfrm>
            <a:off x="2352159" y="1333765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7" name="Freeform 275">
            <a:extLst>
              <a:ext uri="{FF2B5EF4-FFF2-40B4-BE49-F238E27FC236}">
                <a16:creationId xmlns:a16="http://schemas.microsoft.com/office/drawing/2014/main" id="{6C36146E-432B-A3C1-4EF0-E636F70D0E61}"/>
              </a:ext>
            </a:extLst>
          </p:cNvPr>
          <p:cNvSpPr/>
          <p:nvPr/>
        </p:nvSpPr>
        <p:spPr>
          <a:xfrm>
            <a:off x="2286120" y="1390562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8" name="Freeform 277">
            <a:extLst>
              <a:ext uri="{FF2B5EF4-FFF2-40B4-BE49-F238E27FC236}">
                <a16:creationId xmlns:a16="http://schemas.microsoft.com/office/drawing/2014/main" id="{286A6AAF-2664-298B-0FDC-981B8D2831DD}"/>
              </a:ext>
            </a:extLst>
          </p:cNvPr>
          <p:cNvSpPr/>
          <p:nvPr/>
        </p:nvSpPr>
        <p:spPr>
          <a:xfrm>
            <a:off x="2337851" y="1317200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9" name="Freeform 278">
            <a:extLst>
              <a:ext uri="{FF2B5EF4-FFF2-40B4-BE49-F238E27FC236}">
                <a16:creationId xmlns:a16="http://schemas.microsoft.com/office/drawing/2014/main" id="{D8CD281D-3896-A78A-7636-ADADCAC44F1F}"/>
              </a:ext>
            </a:extLst>
          </p:cNvPr>
          <p:cNvSpPr/>
          <p:nvPr/>
        </p:nvSpPr>
        <p:spPr>
          <a:xfrm>
            <a:off x="2272363" y="1373996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0" name="Freeform 280">
            <a:extLst>
              <a:ext uri="{FF2B5EF4-FFF2-40B4-BE49-F238E27FC236}">
                <a16:creationId xmlns:a16="http://schemas.microsoft.com/office/drawing/2014/main" id="{ECAFF320-3300-66F8-CDE4-1FB70DB2F914}"/>
              </a:ext>
            </a:extLst>
          </p:cNvPr>
          <p:cNvSpPr/>
          <p:nvPr/>
        </p:nvSpPr>
        <p:spPr>
          <a:xfrm>
            <a:off x="2118825" y="1249990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1" name="Freeform 281">
            <a:extLst>
              <a:ext uri="{FF2B5EF4-FFF2-40B4-BE49-F238E27FC236}">
                <a16:creationId xmlns:a16="http://schemas.microsoft.com/office/drawing/2014/main" id="{A4C301DA-8C5B-924E-1C9A-89695686FF8F}"/>
              </a:ext>
            </a:extLst>
          </p:cNvPr>
          <p:cNvSpPr/>
          <p:nvPr/>
        </p:nvSpPr>
        <p:spPr>
          <a:xfrm>
            <a:off x="2052788" y="130631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2" name="Freeform 282">
            <a:extLst>
              <a:ext uri="{FF2B5EF4-FFF2-40B4-BE49-F238E27FC236}">
                <a16:creationId xmlns:a16="http://schemas.microsoft.com/office/drawing/2014/main" id="{C149D6D5-FCA5-383A-7206-681743F07BCA}"/>
              </a:ext>
            </a:extLst>
          </p:cNvPr>
          <p:cNvSpPr/>
          <p:nvPr/>
        </p:nvSpPr>
        <p:spPr>
          <a:xfrm>
            <a:off x="2118825" y="1291168"/>
            <a:ext cx="8794554" cy="1821741"/>
          </a:xfrm>
          <a:custGeom>
            <a:avLst/>
            <a:gdLst>
              <a:gd name="connsiteX0" fmla="*/ 0 w 6978130"/>
              <a:gd name="connsiteY0" fmla="*/ 0 h 1680671"/>
              <a:gd name="connsiteX1" fmla="*/ 12226 w 6978130"/>
              <a:gd name="connsiteY1" fmla="*/ 0 h 1680671"/>
              <a:gd name="connsiteX2" fmla="*/ 12226 w 6978130"/>
              <a:gd name="connsiteY2" fmla="*/ 13973 h 1680671"/>
              <a:gd name="connsiteX3" fmla="*/ 30129 w 6978130"/>
              <a:gd name="connsiteY3" fmla="*/ 13973 h 1680671"/>
              <a:gd name="connsiteX4" fmla="*/ 30129 w 6978130"/>
              <a:gd name="connsiteY4" fmla="*/ 31439 h 1680671"/>
              <a:gd name="connsiteX5" fmla="*/ 77724 w 6978130"/>
              <a:gd name="connsiteY5" fmla="*/ 31439 h 1680671"/>
              <a:gd name="connsiteX6" fmla="*/ 77724 w 6978130"/>
              <a:gd name="connsiteY6" fmla="*/ 47158 h 1680671"/>
              <a:gd name="connsiteX7" fmla="*/ 141039 w 6978130"/>
              <a:gd name="connsiteY7" fmla="*/ 47158 h 1680671"/>
              <a:gd name="connsiteX8" fmla="*/ 141039 w 6978130"/>
              <a:gd name="connsiteY8" fmla="*/ 66371 h 1680671"/>
              <a:gd name="connsiteX9" fmla="*/ 191690 w 6978130"/>
              <a:gd name="connsiteY9" fmla="*/ 66371 h 1680671"/>
              <a:gd name="connsiteX10" fmla="*/ 191690 w 6978130"/>
              <a:gd name="connsiteY10" fmla="*/ 97810 h 1680671"/>
              <a:gd name="connsiteX11" fmla="*/ 216143 w 6978130"/>
              <a:gd name="connsiteY11" fmla="*/ 97810 h 1680671"/>
              <a:gd name="connsiteX12" fmla="*/ 216143 w 6978130"/>
              <a:gd name="connsiteY12" fmla="*/ 112219 h 1680671"/>
              <a:gd name="connsiteX13" fmla="*/ 246272 w 6978130"/>
              <a:gd name="connsiteY13" fmla="*/ 112219 h 1680671"/>
              <a:gd name="connsiteX14" fmla="*/ 246272 w 6978130"/>
              <a:gd name="connsiteY14" fmla="*/ 128376 h 1680671"/>
              <a:gd name="connsiteX15" fmla="*/ 254568 w 6978130"/>
              <a:gd name="connsiteY15" fmla="*/ 128376 h 1680671"/>
              <a:gd name="connsiteX16" fmla="*/ 254568 w 6978130"/>
              <a:gd name="connsiteY16" fmla="*/ 161561 h 1680671"/>
              <a:gd name="connsiteX17" fmla="*/ 292120 w 6978130"/>
              <a:gd name="connsiteY17" fmla="*/ 161561 h 1680671"/>
              <a:gd name="connsiteX18" fmla="*/ 292120 w 6978130"/>
              <a:gd name="connsiteY18" fmla="*/ 177717 h 1680671"/>
              <a:gd name="connsiteX19" fmla="*/ 320502 w 6978130"/>
              <a:gd name="connsiteY19" fmla="*/ 177717 h 1680671"/>
              <a:gd name="connsiteX20" fmla="*/ 320502 w 6978130"/>
              <a:gd name="connsiteY20" fmla="*/ 193000 h 1680671"/>
              <a:gd name="connsiteX21" fmla="*/ 348885 w 6978130"/>
              <a:gd name="connsiteY21" fmla="*/ 193000 h 1680671"/>
              <a:gd name="connsiteX22" fmla="*/ 348885 w 6978130"/>
              <a:gd name="connsiteY22" fmla="*/ 227932 h 1680671"/>
              <a:gd name="connsiteX23" fmla="*/ 358928 w 6978130"/>
              <a:gd name="connsiteY23" fmla="*/ 227932 h 1680671"/>
              <a:gd name="connsiteX24" fmla="*/ 358928 w 6978130"/>
              <a:gd name="connsiteY24" fmla="*/ 243652 h 1680671"/>
              <a:gd name="connsiteX25" fmla="*/ 461104 w 6978130"/>
              <a:gd name="connsiteY25" fmla="*/ 243652 h 1680671"/>
              <a:gd name="connsiteX26" fmla="*/ 461104 w 6978130"/>
              <a:gd name="connsiteY26" fmla="*/ 258934 h 1680671"/>
              <a:gd name="connsiteX27" fmla="*/ 499966 w 6978130"/>
              <a:gd name="connsiteY27" fmla="*/ 258934 h 1680671"/>
              <a:gd name="connsiteX28" fmla="*/ 499966 w 6978130"/>
              <a:gd name="connsiteY28" fmla="*/ 310023 h 1680671"/>
              <a:gd name="connsiteX29" fmla="*/ 505206 w 6978130"/>
              <a:gd name="connsiteY29" fmla="*/ 310023 h 1680671"/>
              <a:gd name="connsiteX30" fmla="*/ 505206 w 6978130"/>
              <a:gd name="connsiteY30" fmla="*/ 327052 h 1680671"/>
              <a:gd name="connsiteX31" fmla="*/ 510009 w 6978130"/>
              <a:gd name="connsiteY31" fmla="*/ 327052 h 1680671"/>
              <a:gd name="connsiteX32" fmla="*/ 510009 w 6978130"/>
              <a:gd name="connsiteY32" fmla="*/ 344081 h 1680671"/>
              <a:gd name="connsiteX33" fmla="*/ 514376 w 6978130"/>
              <a:gd name="connsiteY33" fmla="*/ 344081 h 1680671"/>
              <a:gd name="connsiteX34" fmla="*/ 514376 w 6978130"/>
              <a:gd name="connsiteY34" fmla="*/ 379014 h 1680671"/>
              <a:gd name="connsiteX35" fmla="*/ 604326 w 6978130"/>
              <a:gd name="connsiteY35" fmla="*/ 379014 h 1680671"/>
              <a:gd name="connsiteX36" fmla="*/ 604326 w 6978130"/>
              <a:gd name="connsiteY36" fmla="*/ 393423 h 1680671"/>
              <a:gd name="connsiteX37" fmla="*/ 661527 w 6978130"/>
              <a:gd name="connsiteY37" fmla="*/ 393423 h 1680671"/>
              <a:gd name="connsiteX38" fmla="*/ 661527 w 6978130"/>
              <a:gd name="connsiteY38" fmla="*/ 411326 h 1680671"/>
              <a:gd name="connsiteX39" fmla="*/ 688600 w 6978130"/>
              <a:gd name="connsiteY39" fmla="*/ 411326 h 1680671"/>
              <a:gd name="connsiteX40" fmla="*/ 688600 w 6978130"/>
              <a:gd name="connsiteY40" fmla="*/ 429665 h 1680671"/>
              <a:gd name="connsiteX41" fmla="*/ 712179 w 6978130"/>
              <a:gd name="connsiteY41" fmla="*/ 429665 h 1680671"/>
              <a:gd name="connsiteX42" fmla="*/ 712179 w 6978130"/>
              <a:gd name="connsiteY42" fmla="*/ 448441 h 1680671"/>
              <a:gd name="connsiteX43" fmla="*/ 792960 w 6978130"/>
              <a:gd name="connsiteY43" fmla="*/ 448441 h 1680671"/>
              <a:gd name="connsiteX44" fmla="*/ 792960 w 6978130"/>
              <a:gd name="connsiteY44" fmla="*/ 464597 h 1680671"/>
              <a:gd name="connsiteX45" fmla="*/ 809116 w 6978130"/>
              <a:gd name="connsiteY45" fmla="*/ 464597 h 1680671"/>
              <a:gd name="connsiteX46" fmla="*/ 809116 w 6978130"/>
              <a:gd name="connsiteY46" fmla="*/ 481627 h 1680671"/>
              <a:gd name="connsiteX47" fmla="*/ 833131 w 6978130"/>
              <a:gd name="connsiteY47" fmla="*/ 481627 h 1680671"/>
              <a:gd name="connsiteX48" fmla="*/ 833131 w 6978130"/>
              <a:gd name="connsiteY48" fmla="*/ 499529 h 1680671"/>
              <a:gd name="connsiteX49" fmla="*/ 846231 w 6978130"/>
              <a:gd name="connsiteY49" fmla="*/ 499529 h 1680671"/>
              <a:gd name="connsiteX50" fmla="*/ 846231 w 6978130"/>
              <a:gd name="connsiteY50" fmla="*/ 534898 h 1680671"/>
              <a:gd name="connsiteX51" fmla="*/ 870247 w 6978130"/>
              <a:gd name="connsiteY51" fmla="*/ 534898 h 1680671"/>
              <a:gd name="connsiteX52" fmla="*/ 870247 w 6978130"/>
              <a:gd name="connsiteY52" fmla="*/ 553674 h 1680671"/>
              <a:gd name="connsiteX53" fmla="*/ 989889 w 6978130"/>
              <a:gd name="connsiteY53" fmla="*/ 553674 h 1680671"/>
              <a:gd name="connsiteX54" fmla="*/ 989889 w 6978130"/>
              <a:gd name="connsiteY54" fmla="*/ 571140 h 1680671"/>
              <a:gd name="connsiteX55" fmla="*/ 1001242 w 6978130"/>
              <a:gd name="connsiteY55" fmla="*/ 571140 h 1680671"/>
              <a:gd name="connsiteX56" fmla="*/ 1001242 w 6978130"/>
              <a:gd name="connsiteY56" fmla="*/ 625722 h 1680671"/>
              <a:gd name="connsiteX57" fmla="*/ 1107349 w 6978130"/>
              <a:gd name="connsiteY57" fmla="*/ 625722 h 1680671"/>
              <a:gd name="connsiteX58" fmla="*/ 1107349 w 6978130"/>
              <a:gd name="connsiteY58" fmla="*/ 641441 h 1680671"/>
              <a:gd name="connsiteX59" fmla="*/ 1119138 w 6978130"/>
              <a:gd name="connsiteY59" fmla="*/ 641441 h 1680671"/>
              <a:gd name="connsiteX60" fmla="*/ 1119138 w 6978130"/>
              <a:gd name="connsiteY60" fmla="*/ 660217 h 1680671"/>
              <a:gd name="connsiteX61" fmla="*/ 1154507 w 6978130"/>
              <a:gd name="connsiteY61" fmla="*/ 660217 h 1680671"/>
              <a:gd name="connsiteX62" fmla="*/ 1154507 w 6978130"/>
              <a:gd name="connsiteY62" fmla="*/ 696023 h 1680671"/>
              <a:gd name="connsiteX63" fmla="*/ 1161057 w 6978130"/>
              <a:gd name="connsiteY63" fmla="*/ 696023 h 1680671"/>
              <a:gd name="connsiteX64" fmla="*/ 1161057 w 6978130"/>
              <a:gd name="connsiteY64" fmla="*/ 715235 h 1680671"/>
              <a:gd name="connsiteX65" fmla="*/ 1166733 w 6978130"/>
              <a:gd name="connsiteY65" fmla="*/ 715235 h 1680671"/>
              <a:gd name="connsiteX66" fmla="*/ 1166733 w 6978130"/>
              <a:gd name="connsiteY66" fmla="*/ 732265 h 1680671"/>
              <a:gd name="connsiteX67" fmla="*/ 1179833 w 6978130"/>
              <a:gd name="connsiteY67" fmla="*/ 732265 h 1680671"/>
              <a:gd name="connsiteX68" fmla="*/ 1179833 w 6978130"/>
              <a:gd name="connsiteY68" fmla="*/ 749731 h 1680671"/>
              <a:gd name="connsiteX69" fmla="*/ 1206905 w 6978130"/>
              <a:gd name="connsiteY69" fmla="*/ 749731 h 1680671"/>
              <a:gd name="connsiteX70" fmla="*/ 1206905 w 6978130"/>
              <a:gd name="connsiteY70" fmla="*/ 768507 h 1680671"/>
              <a:gd name="connsiteX71" fmla="*/ 1295982 w 6978130"/>
              <a:gd name="connsiteY71" fmla="*/ 768507 h 1680671"/>
              <a:gd name="connsiteX72" fmla="*/ 1295982 w 6978130"/>
              <a:gd name="connsiteY72" fmla="*/ 784226 h 1680671"/>
              <a:gd name="connsiteX73" fmla="*/ 1323491 w 6978130"/>
              <a:gd name="connsiteY73" fmla="*/ 784226 h 1680671"/>
              <a:gd name="connsiteX74" fmla="*/ 1323491 w 6978130"/>
              <a:gd name="connsiteY74" fmla="*/ 803002 h 1680671"/>
              <a:gd name="connsiteX75" fmla="*/ 1331788 w 6978130"/>
              <a:gd name="connsiteY75" fmla="*/ 803002 h 1680671"/>
              <a:gd name="connsiteX76" fmla="*/ 1331788 w 6978130"/>
              <a:gd name="connsiteY76" fmla="*/ 823525 h 1680671"/>
              <a:gd name="connsiteX77" fmla="*/ 1344887 w 6978130"/>
              <a:gd name="connsiteY77" fmla="*/ 823525 h 1680671"/>
              <a:gd name="connsiteX78" fmla="*/ 1344887 w 6978130"/>
              <a:gd name="connsiteY78" fmla="*/ 839681 h 1680671"/>
              <a:gd name="connsiteX79" fmla="*/ 1484616 w 6978130"/>
              <a:gd name="connsiteY79" fmla="*/ 839681 h 1680671"/>
              <a:gd name="connsiteX80" fmla="*/ 1484616 w 6978130"/>
              <a:gd name="connsiteY80" fmla="*/ 859330 h 1680671"/>
              <a:gd name="connsiteX81" fmla="*/ 1510378 w 6978130"/>
              <a:gd name="connsiteY81" fmla="*/ 859330 h 1680671"/>
              <a:gd name="connsiteX82" fmla="*/ 1510378 w 6978130"/>
              <a:gd name="connsiteY82" fmla="*/ 880290 h 1680671"/>
              <a:gd name="connsiteX83" fmla="*/ 1540071 w 6978130"/>
              <a:gd name="connsiteY83" fmla="*/ 880290 h 1680671"/>
              <a:gd name="connsiteX84" fmla="*/ 1540071 w 6978130"/>
              <a:gd name="connsiteY84" fmla="*/ 898629 h 1680671"/>
              <a:gd name="connsiteX85" fmla="*/ 1628274 w 6978130"/>
              <a:gd name="connsiteY85" fmla="*/ 898629 h 1680671"/>
              <a:gd name="connsiteX86" fmla="*/ 1628274 w 6978130"/>
              <a:gd name="connsiteY86" fmla="*/ 918715 h 1680671"/>
              <a:gd name="connsiteX87" fmla="*/ 1635261 w 6978130"/>
              <a:gd name="connsiteY87" fmla="*/ 918715 h 1680671"/>
              <a:gd name="connsiteX88" fmla="*/ 1635261 w 6978130"/>
              <a:gd name="connsiteY88" fmla="*/ 939674 h 1680671"/>
              <a:gd name="connsiteX89" fmla="*/ 1654037 w 6978130"/>
              <a:gd name="connsiteY89" fmla="*/ 939674 h 1680671"/>
              <a:gd name="connsiteX90" fmla="*/ 1654037 w 6978130"/>
              <a:gd name="connsiteY90" fmla="*/ 960633 h 1680671"/>
              <a:gd name="connsiteX91" fmla="*/ 1660150 w 6978130"/>
              <a:gd name="connsiteY91" fmla="*/ 960633 h 1680671"/>
              <a:gd name="connsiteX92" fmla="*/ 1660150 w 6978130"/>
              <a:gd name="connsiteY92" fmla="*/ 979846 h 1680671"/>
              <a:gd name="connsiteX93" fmla="*/ 1666699 w 6978130"/>
              <a:gd name="connsiteY93" fmla="*/ 979846 h 1680671"/>
              <a:gd name="connsiteX94" fmla="*/ 1666699 w 6978130"/>
              <a:gd name="connsiteY94" fmla="*/ 1019581 h 1680671"/>
              <a:gd name="connsiteX95" fmla="*/ 1747480 w 6978130"/>
              <a:gd name="connsiteY95" fmla="*/ 1019581 h 1680671"/>
              <a:gd name="connsiteX96" fmla="*/ 1747480 w 6978130"/>
              <a:gd name="connsiteY96" fmla="*/ 1040541 h 1680671"/>
              <a:gd name="connsiteX97" fmla="*/ 1822584 w 6978130"/>
              <a:gd name="connsiteY97" fmla="*/ 1040541 h 1680671"/>
              <a:gd name="connsiteX98" fmla="*/ 1822584 w 6978130"/>
              <a:gd name="connsiteY98" fmla="*/ 1061063 h 1680671"/>
              <a:gd name="connsiteX99" fmla="*/ 1830444 w 6978130"/>
              <a:gd name="connsiteY99" fmla="*/ 1061063 h 1680671"/>
              <a:gd name="connsiteX100" fmla="*/ 1830444 w 6978130"/>
              <a:gd name="connsiteY100" fmla="*/ 1081586 h 1680671"/>
              <a:gd name="connsiteX101" fmla="*/ 1865813 w 6978130"/>
              <a:gd name="connsiteY101" fmla="*/ 1081586 h 1680671"/>
              <a:gd name="connsiteX102" fmla="*/ 1865813 w 6978130"/>
              <a:gd name="connsiteY102" fmla="*/ 1102982 h 1680671"/>
              <a:gd name="connsiteX103" fmla="*/ 2238713 w 6978130"/>
              <a:gd name="connsiteY103" fmla="*/ 1102982 h 1680671"/>
              <a:gd name="connsiteX104" fmla="*/ 2238713 w 6978130"/>
              <a:gd name="connsiteY104" fmla="*/ 1124378 h 1680671"/>
              <a:gd name="connsiteX105" fmla="*/ 2280195 w 6978130"/>
              <a:gd name="connsiteY105" fmla="*/ 1124378 h 1680671"/>
              <a:gd name="connsiteX106" fmla="*/ 2280195 w 6978130"/>
              <a:gd name="connsiteY106" fmla="*/ 1145337 h 1680671"/>
              <a:gd name="connsiteX107" fmla="*/ 2350059 w 6978130"/>
              <a:gd name="connsiteY107" fmla="*/ 1145337 h 1680671"/>
              <a:gd name="connsiteX108" fmla="*/ 2350059 w 6978130"/>
              <a:gd name="connsiteY108" fmla="*/ 1167170 h 1680671"/>
              <a:gd name="connsiteX109" fmla="*/ 2499394 w 6978130"/>
              <a:gd name="connsiteY109" fmla="*/ 1167170 h 1680671"/>
              <a:gd name="connsiteX110" fmla="*/ 2499394 w 6978130"/>
              <a:gd name="connsiteY110" fmla="*/ 1189875 h 1680671"/>
              <a:gd name="connsiteX111" fmla="*/ 2650476 w 6978130"/>
              <a:gd name="connsiteY111" fmla="*/ 1189875 h 1680671"/>
              <a:gd name="connsiteX112" fmla="*/ 2650476 w 6978130"/>
              <a:gd name="connsiteY112" fmla="*/ 1213018 h 1680671"/>
              <a:gd name="connsiteX113" fmla="*/ 2659646 w 6978130"/>
              <a:gd name="connsiteY113" fmla="*/ 1213018 h 1680671"/>
              <a:gd name="connsiteX114" fmla="*/ 2659646 w 6978130"/>
              <a:gd name="connsiteY114" fmla="*/ 1237034 h 1680671"/>
              <a:gd name="connsiteX115" fmla="*/ 3082761 w 6978130"/>
              <a:gd name="connsiteY115" fmla="*/ 1237034 h 1680671"/>
              <a:gd name="connsiteX116" fmla="*/ 3082761 w 6978130"/>
              <a:gd name="connsiteY116" fmla="*/ 1261923 h 1680671"/>
              <a:gd name="connsiteX117" fmla="*/ 3162668 w 6978130"/>
              <a:gd name="connsiteY117" fmla="*/ 1261923 h 1680671"/>
              <a:gd name="connsiteX118" fmla="*/ 3162668 w 6978130"/>
              <a:gd name="connsiteY118" fmla="*/ 1288559 h 1680671"/>
              <a:gd name="connsiteX119" fmla="*/ 3316370 w 6978130"/>
              <a:gd name="connsiteY119" fmla="*/ 1288559 h 1680671"/>
              <a:gd name="connsiteX120" fmla="*/ 3316370 w 6978130"/>
              <a:gd name="connsiteY120" fmla="*/ 1316504 h 1680671"/>
              <a:gd name="connsiteX121" fmla="*/ 3332526 w 6978130"/>
              <a:gd name="connsiteY121" fmla="*/ 1316504 h 1680671"/>
              <a:gd name="connsiteX122" fmla="*/ 3332526 w 6978130"/>
              <a:gd name="connsiteY122" fmla="*/ 1344887 h 1680671"/>
              <a:gd name="connsiteX123" fmla="*/ 3339949 w 6978130"/>
              <a:gd name="connsiteY123" fmla="*/ 1344887 h 1680671"/>
              <a:gd name="connsiteX124" fmla="*/ 3339949 w 6978130"/>
              <a:gd name="connsiteY124" fmla="*/ 1374142 h 1680671"/>
              <a:gd name="connsiteX125" fmla="*/ 3426406 w 6978130"/>
              <a:gd name="connsiteY125" fmla="*/ 1374142 h 1680671"/>
              <a:gd name="connsiteX126" fmla="*/ 3426406 w 6978130"/>
              <a:gd name="connsiteY126" fmla="*/ 1402961 h 1680671"/>
              <a:gd name="connsiteX127" fmla="*/ 3485354 w 6978130"/>
              <a:gd name="connsiteY127" fmla="*/ 1402961 h 1680671"/>
              <a:gd name="connsiteX128" fmla="*/ 3485354 w 6978130"/>
              <a:gd name="connsiteY128" fmla="*/ 1435710 h 1680671"/>
              <a:gd name="connsiteX129" fmla="*/ 3562641 w 6978130"/>
              <a:gd name="connsiteY129" fmla="*/ 1435710 h 1680671"/>
              <a:gd name="connsiteX130" fmla="*/ 3562641 w 6978130"/>
              <a:gd name="connsiteY130" fmla="*/ 1467586 h 1680671"/>
              <a:gd name="connsiteX131" fmla="*/ 3646915 w 6978130"/>
              <a:gd name="connsiteY131" fmla="*/ 1467586 h 1680671"/>
              <a:gd name="connsiteX132" fmla="*/ 3646915 w 6978130"/>
              <a:gd name="connsiteY132" fmla="*/ 1499462 h 1680671"/>
              <a:gd name="connsiteX133" fmla="*/ 4542488 w 6978130"/>
              <a:gd name="connsiteY133" fmla="*/ 1499462 h 1680671"/>
              <a:gd name="connsiteX134" fmla="*/ 4542488 w 6978130"/>
              <a:gd name="connsiteY134" fmla="*/ 1541817 h 1680671"/>
              <a:gd name="connsiteX135" fmla="*/ 4936784 w 6978130"/>
              <a:gd name="connsiteY135" fmla="*/ 1541817 h 1680671"/>
              <a:gd name="connsiteX136" fmla="*/ 4936784 w 6978130"/>
              <a:gd name="connsiteY136" fmla="*/ 1596398 h 1680671"/>
              <a:gd name="connsiteX137" fmla="*/ 5154237 w 6978130"/>
              <a:gd name="connsiteY137" fmla="*/ 1596398 h 1680671"/>
              <a:gd name="connsiteX138" fmla="*/ 5154237 w 6978130"/>
              <a:gd name="connsiteY138" fmla="*/ 1680672 h 1680671"/>
              <a:gd name="connsiteX139" fmla="*/ 6978131 w 6978130"/>
              <a:gd name="connsiteY139" fmla="*/ 1680672 h 1680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6978130" h="1680671">
                <a:moveTo>
                  <a:pt x="0" y="0"/>
                </a:moveTo>
                <a:lnTo>
                  <a:pt x="12226" y="0"/>
                </a:lnTo>
                <a:lnTo>
                  <a:pt x="12226" y="13973"/>
                </a:lnTo>
                <a:lnTo>
                  <a:pt x="30129" y="13973"/>
                </a:lnTo>
                <a:lnTo>
                  <a:pt x="30129" y="31439"/>
                </a:lnTo>
                <a:lnTo>
                  <a:pt x="77724" y="31439"/>
                </a:lnTo>
                <a:lnTo>
                  <a:pt x="77724" y="47158"/>
                </a:lnTo>
                <a:lnTo>
                  <a:pt x="141039" y="47158"/>
                </a:lnTo>
                <a:lnTo>
                  <a:pt x="141039" y="66371"/>
                </a:lnTo>
                <a:lnTo>
                  <a:pt x="191690" y="66371"/>
                </a:lnTo>
                <a:lnTo>
                  <a:pt x="191690" y="97810"/>
                </a:lnTo>
                <a:lnTo>
                  <a:pt x="216143" y="97810"/>
                </a:lnTo>
                <a:lnTo>
                  <a:pt x="216143" y="112219"/>
                </a:lnTo>
                <a:lnTo>
                  <a:pt x="246272" y="112219"/>
                </a:lnTo>
                <a:lnTo>
                  <a:pt x="246272" y="128376"/>
                </a:lnTo>
                <a:lnTo>
                  <a:pt x="254568" y="128376"/>
                </a:lnTo>
                <a:lnTo>
                  <a:pt x="254568" y="161561"/>
                </a:lnTo>
                <a:lnTo>
                  <a:pt x="292120" y="161561"/>
                </a:lnTo>
                <a:lnTo>
                  <a:pt x="292120" y="177717"/>
                </a:lnTo>
                <a:lnTo>
                  <a:pt x="320502" y="177717"/>
                </a:lnTo>
                <a:lnTo>
                  <a:pt x="320502" y="193000"/>
                </a:lnTo>
                <a:lnTo>
                  <a:pt x="348885" y="193000"/>
                </a:lnTo>
                <a:lnTo>
                  <a:pt x="348885" y="227932"/>
                </a:lnTo>
                <a:lnTo>
                  <a:pt x="358928" y="227932"/>
                </a:lnTo>
                <a:lnTo>
                  <a:pt x="358928" y="243652"/>
                </a:lnTo>
                <a:lnTo>
                  <a:pt x="461104" y="243652"/>
                </a:lnTo>
                <a:lnTo>
                  <a:pt x="461104" y="258934"/>
                </a:lnTo>
                <a:lnTo>
                  <a:pt x="499966" y="258934"/>
                </a:lnTo>
                <a:lnTo>
                  <a:pt x="499966" y="310023"/>
                </a:lnTo>
                <a:lnTo>
                  <a:pt x="505206" y="310023"/>
                </a:lnTo>
                <a:lnTo>
                  <a:pt x="505206" y="327052"/>
                </a:lnTo>
                <a:lnTo>
                  <a:pt x="510009" y="327052"/>
                </a:lnTo>
                <a:lnTo>
                  <a:pt x="510009" y="344081"/>
                </a:lnTo>
                <a:lnTo>
                  <a:pt x="514376" y="344081"/>
                </a:lnTo>
                <a:lnTo>
                  <a:pt x="514376" y="379014"/>
                </a:lnTo>
                <a:lnTo>
                  <a:pt x="604326" y="379014"/>
                </a:lnTo>
                <a:lnTo>
                  <a:pt x="604326" y="393423"/>
                </a:lnTo>
                <a:lnTo>
                  <a:pt x="661527" y="393423"/>
                </a:lnTo>
                <a:lnTo>
                  <a:pt x="661527" y="411326"/>
                </a:lnTo>
                <a:lnTo>
                  <a:pt x="688600" y="411326"/>
                </a:lnTo>
                <a:lnTo>
                  <a:pt x="688600" y="429665"/>
                </a:lnTo>
                <a:lnTo>
                  <a:pt x="712179" y="429665"/>
                </a:lnTo>
                <a:lnTo>
                  <a:pt x="712179" y="448441"/>
                </a:lnTo>
                <a:lnTo>
                  <a:pt x="792960" y="448441"/>
                </a:lnTo>
                <a:lnTo>
                  <a:pt x="792960" y="464597"/>
                </a:lnTo>
                <a:lnTo>
                  <a:pt x="809116" y="464597"/>
                </a:lnTo>
                <a:lnTo>
                  <a:pt x="809116" y="481627"/>
                </a:lnTo>
                <a:lnTo>
                  <a:pt x="833131" y="481627"/>
                </a:lnTo>
                <a:lnTo>
                  <a:pt x="833131" y="499529"/>
                </a:lnTo>
                <a:lnTo>
                  <a:pt x="846231" y="499529"/>
                </a:lnTo>
                <a:lnTo>
                  <a:pt x="846231" y="534898"/>
                </a:lnTo>
                <a:lnTo>
                  <a:pt x="870247" y="534898"/>
                </a:lnTo>
                <a:lnTo>
                  <a:pt x="870247" y="553674"/>
                </a:lnTo>
                <a:lnTo>
                  <a:pt x="989889" y="553674"/>
                </a:lnTo>
                <a:lnTo>
                  <a:pt x="989889" y="571140"/>
                </a:lnTo>
                <a:lnTo>
                  <a:pt x="1001242" y="571140"/>
                </a:lnTo>
                <a:lnTo>
                  <a:pt x="1001242" y="625722"/>
                </a:lnTo>
                <a:lnTo>
                  <a:pt x="1107349" y="625722"/>
                </a:lnTo>
                <a:lnTo>
                  <a:pt x="1107349" y="641441"/>
                </a:lnTo>
                <a:lnTo>
                  <a:pt x="1119138" y="641441"/>
                </a:lnTo>
                <a:lnTo>
                  <a:pt x="1119138" y="660217"/>
                </a:lnTo>
                <a:lnTo>
                  <a:pt x="1154507" y="660217"/>
                </a:lnTo>
                <a:lnTo>
                  <a:pt x="1154507" y="696023"/>
                </a:lnTo>
                <a:lnTo>
                  <a:pt x="1161057" y="696023"/>
                </a:lnTo>
                <a:lnTo>
                  <a:pt x="1161057" y="715235"/>
                </a:lnTo>
                <a:lnTo>
                  <a:pt x="1166733" y="715235"/>
                </a:lnTo>
                <a:lnTo>
                  <a:pt x="1166733" y="732265"/>
                </a:lnTo>
                <a:lnTo>
                  <a:pt x="1179833" y="732265"/>
                </a:lnTo>
                <a:lnTo>
                  <a:pt x="1179833" y="749731"/>
                </a:lnTo>
                <a:lnTo>
                  <a:pt x="1206905" y="749731"/>
                </a:lnTo>
                <a:lnTo>
                  <a:pt x="1206905" y="768507"/>
                </a:lnTo>
                <a:lnTo>
                  <a:pt x="1295982" y="768507"/>
                </a:lnTo>
                <a:lnTo>
                  <a:pt x="1295982" y="784226"/>
                </a:lnTo>
                <a:lnTo>
                  <a:pt x="1323491" y="784226"/>
                </a:lnTo>
                <a:lnTo>
                  <a:pt x="1323491" y="803002"/>
                </a:lnTo>
                <a:lnTo>
                  <a:pt x="1331788" y="803002"/>
                </a:lnTo>
                <a:lnTo>
                  <a:pt x="1331788" y="823525"/>
                </a:lnTo>
                <a:lnTo>
                  <a:pt x="1344887" y="823525"/>
                </a:lnTo>
                <a:lnTo>
                  <a:pt x="1344887" y="839681"/>
                </a:lnTo>
                <a:lnTo>
                  <a:pt x="1484616" y="839681"/>
                </a:lnTo>
                <a:lnTo>
                  <a:pt x="1484616" y="859330"/>
                </a:lnTo>
                <a:lnTo>
                  <a:pt x="1510378" y="859330"/>
                </a:lnTo>
                <a:lnTo>
                  <a:pt x="1510378" y="880290"/>
                </a:lnTo>
                <a:lnTo>
                  <a:pt x="1540071" y="880290"/>
                </a:lnTo>
                <a:lnTo>
                  <a:pt x="1540071" y="898629"/>
                </a:lnTo>
                <a:lnTo>
                  <a:pt x="1628274" y="898629"/>
                </a:lnTo>
                <a:lnTo>
                  <a:pt x="1628274" y="918715"/>
                </a:lnTo>
                <a:lnTo>
                  <a:pt x="1635261" y="918715"/>
                </a:lnTo>
                <a:lnTo>
                  <a:pt x="1635261" y="939674"/>
                </a:lnTo>
                <a:lnTo>
                  <a:pt x="1654037" y="939674"/>
                </a:lnTo>
                <a:lnTo>
                  <a:pt x="1654037" y="960633"/>
                </a:lnTo>
                <a:lnTo>
                  <a:pt x="1660150" y="960633"/>
                </a:lnTo>
                <a:lnTo>
                  <a:pt x="1660150" y="979846"/>
                </a:lnTo>
                <a:lnTo>
                  <a:pt x="1666699" y="979846"/>
                </a:lnTo>
                <a:lnTo>
                  <a:pt x="1666699" y="1019581"/>
                </a:lnTo>
                <a:lnTo>
                  <a:pt x="1747480" y="1019581"/>
                </a:lnTo>
                <a:lnTo>
                  <a:pt x="1747480" y="1040541"/>
                </a:lnTo>
                <a:lnTo>
                  <a:pt x="1822584" y="1040541"/>
                </a:lnTo>
                <a:lnTo>
                  <a:pt x="1822584" y="1061063"/>
                </a:lnTo>
                <a:lnTo>
                  <a:pt x="1830444" y="1061063"/>
                </a:lnTo>
                <a:lnTo>
                  <a:pt x="1830444" y="1081586"/>
                </a:lnTo>
                <a:lnTo>
                  <a:pt x="1865813" y="1081586"/>
                </a:lnTo>
                <a:lnTo>
                  <a:pt x="1865813" y="1102982"/>
                </a:lnTo>
                <a:lnTo>
                  <a:pt x="2238713" y="1102982"/>
                </a:lnTo>
                <a:lnTo>
                  <a:pt x="2238713" y="1124378"/>
                </a:lnTo>
                <a:lnTo>
                  <a:pt x="2280195" y="1124378"/>
                </a:lnTo>
                <a:lnTo>
                  <a:pt x="2280195" y="1145337"/>
                </a:lnTo>
                <a:lnTo>
                  <a:pt x="2350059" y="1145337"/>
                </a:lnTo>
                <a:lnTo>
                  <a:pt x="2350059" y="1167170"/>
                </a:lnTo>
                <a:lnTo>
                  <a:pt x="2499394" y="1167170"/>
                </a:lnTo>
                <a:lnTo>
                  <a:pt x="2499394" y="1189875"/>
                </a:lnTo>
                <a:lnTo>
                  <a:pt x="2650476" y="1189875"/>
                </a:lnTo>
                <a:lnTo>
                  <a:pt x="2650476" y="1213018"/>
                </a:lnTo>
                <a:lnTo>
                  <a:pt x="2659646" y="1213018"/>
                </a:lnTo>
                <a:lnTo>
                  <a:pt x="2659646" y="1237034"/>
                </a:lnTo>
                <a:lnTo>
                  <a:pt x="3082761" y="1237034"/>
                </a:lnTo>
                <a:lnTo>
                  <a:pt x="3082761" y="1261923"/>
                </a:lnTo>
                <a:lnTo>
                  <a:pt x="3162668" y="1261923"/>
                </a:lnTo>
                <a:lnTo>
                  <a:pt x="3162668" y="1288559"/>
                </a:lnTo>
                <a:lnTo>
                  <a:pt x="3316370" y="1288559"/>
                </a:lnTo>
                <a:lnTo>
                  <a:pt x="3316370" y="1316504"/>
                </a:lnTo>
                <a:lnTo>
                  <a:pt x="3332526" y="1316504"/>
                </a:lnTo>
                <a:lnTo>
                  <a:pt x="3332526" y="1344887"/>
                </a:lnTo>
                <a:lnTo>
                  <a:pt x="3339949" y="1344887"/>
                </a:lnTo>
                <a:lnTo>
                  <a:pt x="3339949" y="1374142"/>
                </a:lnTo>
                <a:lnTo>
                  <a:pt x="3426406" y="1374142"/>
                </a:lnTo>
                <a:lnTo>
                  <a:pt x="3426406" y="1402961"/>
                </a:lnTo>
                <a:lnTo>
                  <a:pt x="3485354" y="1402961"/>
                </a:lnTo>
                <a:lnTo>
                  <a:pt x="3485354" y="1435710"/>
                </a:lnTo>
                <a:lnTo>
                  <a:pt x="3562641" y="1435710"/>
                </a:lnTo>
                <a:lnTo>
                  <a:pt x="3562641" y="1467586"/>
                </a:lnTo>
                <a:lnTo>
                  <a:pt x="3646915" y="1467586"/>
                </a:lnTo>
                <a:lnTo>
                  <a:pt x="3646915" y="1499462"/>
                </a:lnTo>
                <a:lnTo>
                  <a:pt x="4542488" y="1499462"/>
                </a:lnTo>
                <a:lnTo>
                  <a:pt x="4542488" y="1541817"/>
                </a:lnTo>
                <a:lnTo>
                  <a:pt x="4936784" y="1541817"/>
                </a:lnTo>
                <a:lnTo>
                  <a:pt x="4936784" y="1596398"/>
                </a:lnTo>
                <a:lnTo>
                  <a:pt x="5154237" y="1596398"/>
                </a:lnTo>
                <a:lnTo>
                  <a:pt x="5154237" y="1680672"/>
                </a:lnTo>
                <a:lnTo>
                  <a:pt x="6978131" y="1680672"/>
                </a:lnTo>
              </a:path>
            </a:pathLst>
          </a:custGeom>
          <a:noFill/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3" name="Freeform 284">
            <a:extLst>
              <a:ext uri="{FF2B5EF4-FFF2-40B4-BE49-F238E27FC236}">
                <a16:creationId xmlns:a16="http://schemas.microsoft.com/office/drawing/2014/main" id="{EBF57965-4331-96AD-EAE4-BF9AE227A358}"/>
              </a:ext>
            </a:extLst>
          </p:cNvPr>
          <p:cNvSpPr/>
          <p:nvPr/>
        </p:nvSpPr>
        <p:spPr>
          <a:xfrm>
            <a:off x="10913380" y="305658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4" name="Freeform 285">
            <a:extLst>
              <a:ext uri="{FF2B5EF4-FFF2-40B4-BE49-F238E27FC236}">
                <a16:creationId xmlns:a16="http://schemas.microsoft.com/office/drawing/2014/main" id="{360B92A0-3383-FFC2-AF93-16009500CE02}"/>
              </a:ext>
            </a:extLst>
          </p:cNvPr>
          <p:cNvSpPr/>
          <p:nvPr/>
        </p:nvSpPr>
        <p:spPr>
          <a:xfrm>
            <a:off x="10847892" y="3112910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5" name="Freeform 287">
            <a:extLst>
              <a:ext uri="{FF2B5EF4-FFF2-40B4-BE49-F238E27FC236}">
                <a16:creationId xmlns:a16="http://schemas.microsoft.com/office/drawing/2014/main" id="{2FF522CF-8FEB-0817-3D57-9BC50448DC49}"/>
              </a:ext>
            </a:extLst>
          </p:cNvPr>
          <p:cNvSpPr/>
          <p:nvPr/>
        </p:nvSpPr>
        <p:spPr>
          <a:xfrm>
            <a:off x="10040583" y="305658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6" name="Freeform 288">
            <a:extLst>
              <a:ext uri="{FF2B5EF4-FFF2-40B4-BE49-F238E27FC236}">
                <a16:creationId xmlns:a16="http://schemas.microsoft.com/office/drawing/2014/main" id="{9910D367-43F5-5700-E895-B01FEE213630}"/>
              </a:ext>
            </a:extLst>
          </p:cNvPr>
          <p:cNvSpPr/>
          <p:nvPr/>
        </p:nvSpPr>
        <p:spPr>
          <a:xfrm>
            <a:off x="9974546" y="3112910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7" name="Freeform 290">
            <a:extLst>
              <a:ext uri="{FF2B5EF4-FFF2-40B4-BE49-F238E27FC236}">
                <a16:creationId xmlns:a16="http://schemas.microsoft.com/office/drawing/2014/main" id="{7A6B8663-21AD-9AD5-522F-0CC69FF18605}"/>
              </a:ext>
            </a:extLst>
          </p:cNvPr>
          <p:cNvSpPr/>
          <p:nvPr/>
        </p:nvSpPr>
        <p:spPr>
          <a:xfrm>
            <a:off x="9447896" y="305658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8" name="Freeform 291">
            <a:extLst>
              <a:ext uri="{FF2B5EF4-FFF2-40B4-BE49-F238E27FC236}">
                <a16:creationId xmlns:a16="http://schemas.microsoft.com/office/drawing/2014/main" id="{2CEDCB68-A90F-79D9-2EF0-41B5054A5F19}"/>
              </a:ext>
            </a:extLst>
          </p:cNvPr>
          <p:cNvSpPr/>
          <p:nvPr/>
        </p:nvSpPr>
        <p:spPr>
          <a:xfrm>
            <a:off x="9382409" y="3112910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9" name="Freeform 293">
            <a:extLst>
              <a:ext uri="{FF2B5EF4-FFF2-40B4-BE49-F238E27FC236}">
                <a16:creationId xmlns:a16="http://schemas.microsoft.com/office/drawing/2014/main" id="{5518312D-5D8B-B8EF-72BE-E6F5D7BEA755}"/>
              </a:ext>
            </a:extLst>
          </p:cNvPr>
          <p:cNvSpPr/>
          <p:nvPr/>
        </p:nvSpPr>
        <p:spPr>
          <a:xfrm>
            <a:off x="9243180" y="305658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0" name="Freeform 294">
            <a:extLst>
              <a:ext uri="{FF2B5EF4-FFF2-40B4-BE49-F238E27FC236}">
                <a16:creationId xmlns:a16="http://schemas.microsoft.com/office/drawing/2014/main" id="{9FE1DD4F-25C0-B49F-0EFA-BFDA27FC0F90}"/>
              </a:ext>
            </a:extLst>
          </p:cNvPr>
          <p:cNvSpPr/>
          <p:nvPr/>
        </p:nvSpPr>
        <p:spPr>
          <a:xfrm>
            <a:off x="9177692" y="3112910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1" name="Freeform 296">
            <a:extLst>
              <a:ext uri="{FF2B5EF4-FFF2-40B4-BE49-F238E27FC236}">
                <a16:creationId xmlns:a16="http://schemas.microsoft.com/office/drawing/2014/main" id="{3F77068F-C0AB-F2B6-9E8B-C0E21534A1FE}"/>
              </a:ext>
            </a:extLst>
          </p:cNvPr>
          <p:cNvSpPr/>
          <p:nvPr/>
        </p:nvSpPr>
        <p:spPr>
          <a:xfrm>
            <a:off x="9026907" y="305658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2" name="Freeform 297">
            <a:extLst>
              <a:ext uri="{FF2B5EF4-FFF2-40B4-BE49-F238E27FC236}">
                <a16:creationId xmlns:a16="http://schemas.microsoft.com/office/drawing/2014/main" id="{96B28937-B135-BE17-598B-85F524C02C3F}"/>
              </a:ext>
            </a:extLst>
          </p:cNvPr>
          <p:cNvSpPr/>
          <p:nvPr/>
        </p:nvSpPr>
        <p:spPr>
          <a:xfrm>
            <a:off x="8960869" y="3112910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7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7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3" name="Freeform 299">
            <a:extLst>
              <a:ext uri="{FF2B5EF4-FFF2-40B4-BE49-F238E27FC236}">
                <a16:creationId xmlns:a16="http://schemas.microsoft.com/office/drawing/2014/main" id="{83F23C92-712E-C9FE-5A6D-284FFD999710}"/>
              </a:ext>
            </a:extLst>
          </p:cNvPr>
          <p:cNvSpPr/>
          <p:nvPr/>
        </p:nvSpPr>
        <p:spPr>
          <a:xfrm>
            <a:off x="8895381" y="305658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4" name="Freeform 300">
            <a:extLst>
              <a:ext uri="{FF2B5EF4-FFF2-40B4-BE49-F238E27FC236}">
                <a16:creationId xmlns:a16="http://schemas.microsoft.com/office/drawing/2014/main" id="{ADC24604-67DC-E63F-FBF9-198B7D972C2A}"/>
              </a:ext>
            </a:extLst>
          </p:cNvPr>
          <p:cNvSpPr/>
          <p:nvPr/>
        </p:nvSpPr>
        <p:spPr>
          <a:xfrm>
            <a:off x="8829344" y="3112910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5" name="Freeform 302">
            <a:extLst>
              <a:ext uri="{FF2B5EF4-FFF2-40B4-BE49-F238E27FC236}">
                <a16:creationId xmlns:a16="http://schemas.microsoft.com/office/drawing/2014/main" id="{A20A96C0-322A-C18A-1515-06EA79B877D3}"/>
              </a:ext>
            </a:extLst>
          </p:cNvPr>
          <p:cNvSpPr/>
          <p:nvPr/>
        </p:nvSpPr>
        <p:spPr>
          <a:xfrm>
            <a:off x="8758354" y="305658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6" name="Freeform 303">
            <a:extLst>
              <a:ext uri="{FF2B5EF4-FFF2-40B4-BE49-F238E27FC236}">
                <a16:creationId xmlns:a16="http://schemas.microsoft.com/office/drawing/2014/main" id="{C9D5612F-2928-E121-A278-3A94FCE58E33}"/>
              </a:ext>
            </a:extLst>
          </p:cNvPr>
          <p:cNvSpPr/>
          <p:nvPr/>
        </p:nvSpPr>
        <p:spPr>
          <a:xfrm>
            <a:off x="8692317" y="3112910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7" name="Freeform 305">
            <a:extLst>
              <a:ext uri="{FF2B5EF4-FFF2-40B4-BE49-F238E27FC236}">
                <a16:creationId xmlns:a16="http://schemas.microsoft.com/office/drawing/2014/main" id="{93803F26-0290-21FF-2265-7CBCAE41D010}"/>
              </a:ext>
            </a:extLst>
          </p:cNvPr>
          <p:cNvSpPr/>
          <p:nvPr/>
        </p:nvSpPr>
        <p:spPr>
          <a:xfrm>
            <a:off x="8603716" y="2965239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8" name="Freeform 306">
            <a:extLst>
              <a:ext uri="{FF2B5EF4-FFF2-40B4-BE49-F238E27FC236}">
                <a16:creationId xmlns:a16="http://schemas.microsoft.com/office/drawing/2014/main" id="{15A6FB32-9F8A-38D3-1C68-A4ADA07290DA}"/>
              </a:ext>
            </a:extLst>
          </p:cNvPr>
          <p:cNvSpPr/>
          <p:nvPr/>
        </p:nvSpPr>
        <p:spPr>
          <a:xfrm>
            <a:off x="8538228" y="302156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9" name="Freeform 308">
            <a:extLst>
              <a:ext uri="{FF2B5EF4-FFF2-40B4-BE49-F238E27FC236}">
                <a16:creationId xmlns:a16="http://schemas.microsoft.com/office/drawing/2014/main" id="{4AC91D65-B601-B2E8-7C47-03399E679F02}"/>
              </a:ext>
            </a:extLst>
          </p:cNvPr>
          <p:cNvSpPr/>
          <p:nvPr/>
        </p:nvSpPr>
        <p:spPr>
          <a:xfrm>
            <a:off x="8385792" y="2965239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0" name="Freeform 309">
            <a:extLst>
              <a:ext uri="{FF2B5EF4-FFF2-40B4-BE49-F238E27FC236}">
                <a16:creationId xmlns:a16="http://schemas.microsoft.com/office/drawing/2014/main" id="{4A902C42-F8DC-3418-761A-BE66BF064C64}"/>
              </a:ext>
            </a:extLst>
          </p:cNvPr>
          <p:cNvSpPr/>
          <p:nvPr/>
        </p:nvSpPr>
        <p:spPr>
          <a:xfrm>
            <a:off x="8319753" y="3021563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7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7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1" name="Freeform 311">
            <a:extLst>
              <a:ext uri="{FF2B5EF4-FFF2-40B4-BE49-F238E27FC236}">
                <a16:creationId xmlns:a16="http://schemas.microsoft.com/office/drawing/2014/main" id="{61C2C394-27D5-4567-3C54-6F16E554313D}"/>
              </a:ext>
            </a:extLst>
          </p:cNvPr>
          <p:cNvSpPr/>
          <p:nvPr/>
        </p:nvSpPr>
        <p:spPr>
          <a:xfrm>
            <a:off x="8221248" y="290607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2" name="Freeform 312">
            <a:extLst>
              <a:ext uri="{FF2B5EF4-FFF2-40B4-BE49-F238E27FC236}">
                <a16:creationId xmlns:a16="http://schemas.microsoft.com/office/drawing/2014/main" id="{9D0ECEEE-549E-062E-0860-F48A3F64D5DD}"/>
              </a:ext>
            </a:extLst>
          </p:cNvPr>
          <p:cNvSpPr/>
          <p:nvPr/>
        </p:nvSpPr>
        <p:spPr>
          <a:xfrm>
            <a:off x="8155211" y="296287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3" name="Freeform 314">
            <a:extLst>
              <a:ext uri="{FF2B5EF4-FFF2-40B4-BE49-F238E27FC236}">
                <a16:creationId xmlns:a16="http://schemas.microsoft.com/office/drawing/2014/main" id="{5FEAAB91-FD09-563C-D24D-134A77394C7B}"/>
              </a:ext>
            </a:extLst>
          </p:cNvPr>
          <p:cNvSpPr/>
          <p:nvPr/>
        </p:nvSpPr>
        <p:spPr>
          <a:xfrm>
            <a:off x="8190981" y="290607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4" name="Freeform 315">
            <a:extLst>
              <a:ext uri="{FF2B5EF4-FFF2-40B4-BE49-F238E27FC236}">
                <a16:creationId xmlns:a16="http://schemas.microsoft.com/office/drawing/2014/main" id="{05039EDB-6677-8AA1-7E95-E4739A3DD2A5}"/>
              </a:ext>
            </a:extLst>
          </p:cNvPr>
          <p:cNvSpPr/>
          <p:nvPr/>
        </p:nvSpPr>
        <p:spPr>
          <a:xfrm>
            <a:off x="8125493" y="296287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5" name="Freeform 317">
            <a:extLst>
              <a:ext uri="{FF2B5EF4-FFF2-40B4-BE49-F238E27FC236}">
                <a16:creationId xmlns:a16="http://schemas.microsoft.com/office/drawing/2014/main" id="{BBB42E78-BCEF-C508-2092-DD603214DED2}"/>
              </a:ext>
            </a:extLst>
          </p:cNvPr>
          <p:cNvSpPr/>
          <p:nvPr/>
        </p:nvSpPr>
        <p:spPr>
          <a:xfrm>
            <a:off x="8184377" y="290607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6" name="Freeform 318">
            <a:extLst>
              <a:ext uri="{FF2B5EF4-FFF2-40B4-BE49-F238E27FC236}">
                <a16:creationId xmlns:a16="http://schemas.microsoft.com/office/drawing/2014/main" id="{469199E9-CB15-B1EE-A1B9-F4CF02B6B434}"/>
              </a:ext>
            </a:extLst>
          </p:cNvPr>
          <p:cNvSpPr/>
          <p:nvPr/>
        </p:nvSpPr>
        <p:spPr>
          <a:xfrm>
            <a:off x="8118890" y="296287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7" name="Freeform 320">
            <a:extLst>
              <a:ext uri="{FF2B5EF4-FFF2-40B4-BE49-F238E27FC236}">
                <a16:creationId xmlns:a16="http://schemas.microsoft.com/office/drawing/2014/main" id="{4403D729-1C18-43E6-DEBD-2E49943EA9F3}"/>
              </a:ext>
            </a:extLst>
          </p:cNvPr>
          <p:cNvSpPr/>
          <p:nvPr/>
        </p:nvSpPr>
        <p:spPr>
          <a:xfrm>
            <a:off x="8166217" y="290607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8" name="Freeform 321">
            <a:extLst>
              <a:ext uri="{FF2B5EF4-FFF2-40B4-BE49-F238E27FC236}">
                <a16:creationId xmlns:a16="http://schemas.microsoft.com/office/drawing/2014/main" id="{A725AC52-505E-83A6-577F-DA070A2E4BEB}"/>
              </a:ext>
            </a:extLst>
          </p:cNvPr>
          <p:cNvSpPr/>
          <p:nvPr/>
        </p:nvSpPr>
        <p:spPr>
          <a:xfrm>
            <a:off x="8100729" y="296287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9" name="Freeform 323">
            <a:extLst>
              <a:ext uri="{FF2B5EF4-FFF2-40B4-BE49-F238E27FC236}">
                <a16:creationId xmlns:a16="http://schemas.microsoft.com/office/drawing/2014/main" id="{30A5E57C-CF98-D988-67F7-15F7DF4D2318}"/>
              </a:ext>
            </a:extLst>
          </p:cNvPr>
          <p:cNvSpPr/>
          <p:nvPr/>
        </p:nvSpPr>
        <p:spPr>
          <a:xfrm>
            <a:off x="7345700" y="2859693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0" name="Freeform 324">
            <a:extLst>
              <a:ext uri="{FF2B5EF4-FFF2-40B4-BE49-F238E27FC236}">
                <a16:creationId xmlns:a16="http://schemas.microsoft.com/office/drawing/2014/main" id="{A3F90527-A131-95B6-B27D-1F536110A3DB}"/>
              </a:ext>
            </a:extLst>
          </p:cNvPr>
          <p:cNvSpPr/>
          <p:nvPr/>
        </p:nvSpPr>
        <p:spPr>
          <a:xfrm>
            <a:off x="7280212" y="291648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1" name="Freeform 326">
            <a:extLst>
              <a:ext uri="{FF2B5EF4-FFF2-40B4-BE49-F238E27FC236}">
                <a16:creationId xmlns:a16="http://schemas.microsoft.com/office/drawing/2014/main" id="{4B69FD6D-01EF-1940-7EA4-FAE4EAB3303C}"/>
              </a:ext>
            </a:extLst>
          </p:cNvPr>
          <p:cNvSpPr/>
          <p:nvPr/>
        </p:nvSpPr>
        <p:spPr>
          <a:xfrm>
            <a:off x="7205920" y="2859693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2" name="Freeform 327">
            <a:extLst>
              <a:ext uri="{FF2B5EF4-FFF2-40B4-BE49-F238E27FC236}">
                <a16:creationId xmlns:a16="http://schemas.microsoft.com/office/drawing/2014/main" id="{3A188D5C-1DCA-45F4-CA92-EEA1245E07A0}"/>
              </a:ext>
            </a:extLst>
          </p:cNvPr>
          <p:cNvSpPr/>
          <p:nvPr/>
        </p:nvSpPr>
        <p:spPr>
          <a:xfrm>
            <a:off x="7139882" y="291648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3" name="Freeform 329">
            <a:extLst>
              <a:ext uri="{FF2B5EF4-FFF2-40B4-BE49-F238E27FC236}">
                <a16:creationId xmlns:a16="http://schemas.microsoft.com/office/drawing/2014/main" id="{C19D4EFE-98D4-DFA6-9D1F-6CA1A91AC697}"/>
              </a:ext>
            </a:extLst>
          </p:cNvPr>
          <p:cNvSpPr/>
          <p:nvPr/>
        </p:nvSpPr>
        <p:spPr>
          <a:xfrm>
            <a:off x="7136580" y="2859693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4" name="Freeform 330">
            <a:extLst>
              <a:ext uri="{FF2B5EF4-FFF2-40B4-BE49-F238E27FC236}">
                <a16:creationId xmlns:a16="http://schemas.microsoft.com/office/drawing/2014/main" id="{AE24350B-A3EF-17EA-DAC9-37C0D91D271E}"/>
              </a:ext>
            </a:extLst>
          </p:cNvPr>
          <p:cNvSpPr/>
          <p:nvPr/>
        </p:nvSpPr>
        <p:spPr>
          <a:xfrm>
            <a:off x="7071094" y="291648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5" name="Freeform 332">
            <a:extLst>
              <a:ext uri="{FF2B5EF4-FFF2-40B4-BE49-F238E27FC236}">
                <a16:creationId xmlns:a16="http://schemas.microsoft.com/office/drawing/2014/main" id="{A1E9CCE7-2DB9-27CE-6AD0-EB9DA5B95168}"/>
              </a:ext>
            </a:extLst>
          </p:cNvPr>
          <p:cNvSpPr/>
          <p:nvPr/>
        </p:nvSpPr>
        <p:spPr>
          <a:xfrm>
            <a:off x="6725497" y="2859693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6" name="Freeform 333">
            <a:extLst>
              <a:ext uri="{FF2B5EF4-FFF2-40B4-BE49-F238E27FC236}">
                <a16:creationId xmlns:a16="http://schemas.microsoft.com/office/drawing/2014/main" id="{E7954F66-6D53-B896-3F6A-F3864D4728DE}"/>
              </a:ext>
            </a:extLst>
          </p:cNvPr>
          <p:cNvSpPr/>
          <p:nvPr/>
        </p:nvSpPr>
        <p:spPr>
          <a:xfrm>
            <a:off x="6659459" y="291648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7" name="Freeform 335">
            <a:extLst>
              <a:ext uri="{FF2B5EF4-FFF2-40B4-BE49-F238E27FC236}">
                <a16:creationId xmlns:a16="http://schemas.microsoft.com/office/drawing/2014/main" id="{953ACE09-4AB3-1DD1-D117-2F82ACE4FF77}"/>
              </a:ext>
            </a:extLst>
          </p:cNvPr>
          <p:cNvSpPr/>
          <p:nvPr/>
        </p:nvSpPr>
        <p:spPr>
          <a:xfrm>
            <a:off x="6501519" y="2755567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8" name="Freeform 336">
            <a:extLst>
              <a:ext uri="{FF2B5EF4-FFF2-40B4-BE49-F238E27FC236}">
                <a16:creationId xmlns:a16="http://schemas.microsoft.com/office/drawing/2014/main" id="{EF0AA249-1164-E1A3-CB6C-C3FC20727316}"/>
              </a:ext>
            </a:extLst>
          </p:cNvPr>
          <p:cNvSpPr/>
          <p:nvPr/>
        </p:nvSpPr>
        <p:spPr>
          <a:xfrm>
            <a:off x="6436032" y="281188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9" name="Freeform 338">
            <a:extLst>
              <a:ext uri="{FF2B5EF4-FFF2-40B4-BE49-F238E27FC236}">
                <a16:creationId xmlns:a16="http://schemas.microsoft.com/office/drawing/2014/main" id="{02C88D30-8A05-B65B-71F4-149F6DD861FD}"/>
              </a:ext>
            </a:extLst>
          </p:cNvPr>
          <p:cNvSpPr/>
          <p:nvPr/>
        </p:nvSpPr>
        <p:spPr>
          <a:xfrm>
            <a:off x="6322668" y="269309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0" name="Freeform 339">
            <a:extLst>
              <a:ext uri="{FF2B5EF4-FFF2-40B4-BE49-F238E27FC236}">
                <a16:creationId xmlns:a16="http://schemas.microsoft.com/office/drawing/2014/main" id="{5E009AFD-62AA-5B2A-0AC1-4E218606C7CA}"/>
              </a:ext>
            </a:extLst>
          </p:cNvPr>
          <p:cNvSpPr/>
          <p:nvPr/>
        </p:nvSpPr>
        <p:spPr>
          <a:xfrm>
            <a:off x="6256630" y="2749887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1" name="Freeform 341">
            <a:extLst>
              <a:ext uri="{FF2B5EF4-FFF2-40B4-BE49-F238E27FC236}">
                <a16:creationId xmlns:a16="http://schemas.microsoft.com/office/drawing/2014/main" id="{7BB7A9BC-7248-C262-A1CA-E60FB42665D9}"/>
              </a:ext>
            </a:extLst>
          </p:cNvPr>
          <p:cNvSpPr/>
          <p:nvPr/>
        </p:nvSpPr>
        <p:spPr>
          <a:xfrm>
            <a:off x="6298454" y="2659013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2" name="Freeform 342">
            <a:extLst>
              <a:ext uri="{FF2B5EF4-FFF2-40B4-BE49-F238E27FC236}">
                <a16:creationId xmlns:a16="http://schemas.microsoft.com/office/drawing/2014/main" id="{442DFE25-41FC-D6AD-6680-47C32A31A681}"/>
              </a:ext>
            </a:extLst>
          </p:cNvPr>
          <p:cNvSpPr/>
          <p:nvPr/>
        </p:nvSpPr>
        <p:spPr>
          <a:xfrm>
            <a:off x="6232966" y="271580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3" name="Freeform 344">
            <a:extLst>
              <a:ext uri="{FF2B5EF4-FFF2-40B4-BE49-F238E27FC236}">
                <a16:creationId xmlns:a16="http://schemas.microsoft.com/office/drawing/2014/main" id="{DFCF198F-29C4-80CB-A53F-500911EDF65A}"/>
              </a:ext>
            </a:extLst>
          </p:cNvPr>
          <p:cNvSpPr/>
          <p:nvPr/>
        </p:nvSpPr>
        <p:spPr>
          <a:xfrm>
            <a:off x="6262683" y="2631087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4" name="Freeform 345">
            <a:extLst>
              <a:ext uri="{FF2B5EF4-FFF2-40B4-BE49-F238E27FC236}">
                <a16:creationId xmlns:a16="http://schemas.microsoft.com/office/drawing/2014/main" id="{0687B9AF-41A7-9F06-E645-92A16159B6D4}"/>
              </a:ext>
            </a:extLst>
          </p:cNvPr>
          <p:cNvSpPr/>
          <p:nvPr/>
        </p:nvSpPr>
        <p:spPr>
          <a:xfrm>
            <a:off x="6197196" y="268788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5" name="Freeform 347">
            <a:extLst>
              <a:ext uri="{FF2B5EF4-FFF2-40B4-BE49-F238E27FC236}">
                <a16:creationId xmlns:a16="http://schemas.microsoft.com/office/drawing/2014/main" id="{490235AB-BACE-43F5-7317-C7125E7A96F4}"/>
              </a:ext>
            </a:extLst>
          </p:cNvPr>
          <p:cNvSpPr/>
          <p:nvPr/>
        </p:nvSpPr>
        <p:spPr>
          <a:xfrm>
            <a:off x="5872511" y="257571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6" name="Freeform 348">
            <a:extLst>
              <a:ext uri="{FF2B5EF4-FFF2-40B4-BE49-F238E27FC236}">
                <a16:creationId xmlns:a16="http://schemas.microsoft.com/office/drawing/2014/main" id="{F13CF271-EF72-3C2F-39CA-EFD2E97DB75D}"/>
              </a:ext>
            </a:extLst>
          </p:cNvPr>
          <p:cNvSpPr/>
          <p:nvPr/>
        </p:nvSpPr>
        <p:spPr>
          <a:xfrm>
            <a:off x="5807024" y="2632035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7" name="Freeform 350">
            <a:extLst>
              <a:ext uri="{FF2B5EF4-FFF2-40B4-BE49-F238E27FC236}">
                <a16:creationId xmlns:a16="http://schemas.microsoft.com/office/drawing/2014/main" id="{8E25EE40-5C30-7E86-41F2-3AB29F538297}"/>
              </a:ext>
            </a:extLst>
          </p:cNvPr>
          <p:cNvSpPr/>
          <p:nvPr/>
        </p:nvSpPr>
        <p:spPr>
          <a:xfrm>
            <a:off x="5712920" y="257571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8" name="Freeform 351">
            <a:extLst>
              <a:ext uri="{FF2B5EF4-FFF2-40B4-BE49-F238E27FC236}">
                <a16:creationId xmlns:a16="http://schemas.microsoft.com/office/drawing/2014/main" id="{47A397E2-A787-20BA-C483-FD0E257C5864}"/>
              </a:ext>
            </a:extLst>
          </p:cNvPr>
          <p:cNvSpPr/>
          <p:nvPr/>
        </p:nvSpPr>
        <p:spPr>
          <a:xfrm>
            <a:off x="5646883" y="2632035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9" name="Freeform 353">
            <a:extLst>
              <a:ext uri="{FF2B5EF4-FFF2-40B4-BE49-F238E27FC236}">
                <a16:creationId xmlns:a16="http://schemas.microsoft.com/office/drawing/2014/main" id="{3CCE3174-4F1D-197B-C114-7E24D5826416}"/>
              </a:ext>
            </a:extLst>
          </p:cNvPr>
          <p:cNvSpPr/>
          <p:nvPr/>
        </p:nvSpPr>
        <p:spPr>
          <a:xfrm>
            <a:off x="5662842" y="257571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0" name="Freeform 354">
            <a:extLst>
              <a:ext uri="{FF2B5EF4-FFF2-40B4-BE49-F238E27FC236}">
                <a16:creationId xmlns:a16="http://schemas.microsoft.com/office/drawing/2014/main" id="{94CC298B-F6EB-ED04-BC50-80C1A078B1F1}"/>
              </a:ext>
            </a:extLst>
          </p:cNvPr>
          <p:cNvSpPr/>
          <p:nvPr/>
        </p:nvSpPr>
        <p:spPr>
          <a:xfrm>
            <a:off x="5597355" y="2632035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1" name="Freeform 356">
            <a:extLst>
              <a:ext uri="{FF2B5EF4-FFF2-40B4-BE49-F238E27FC236}">
                <a16:creationId xmlns:a16="http://schemas.microsoft.com/office/drawing/2014/main" id="{1739D93C-149E-253F-21AB-6B4C842BED24}"/>
              </a:ext>
            </a:extLst>
          </p:cNvPr>
          <p:cNvSpPr/>
          <p:nvPr/>
        </p:nvSpPr>
        <p:spPr>
          <a:xfrm>
            <a:off x="5520861" y="257571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2" name="Freeform 357">
            <a:extLst>
              <a:ext uri="{FF2B5EF4-FFF2-40B4-BE49-F238E27FC236}">
                <a16:creationId xmlns:a16="http://schemas.microsoft.com/office/drawing/2014/main" id="{5F14481C-7098-EE40-75A9-CDF55CA0DC01}"/>
              </a:ext>
            </a:extLst>
          </p:cNvPr>
          <p:cNvSpPr/>
          <p:nvPr/>
        </p:nvSpPr>
        <p:spPr>
          <a:xfrm>
            <a:off x="5455374" y="2632035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3" name="Freeform 359">
            <a:extLst>
              <a:ext uri="{FF2B5EF4-FFF2-40B4-BE49-F238E27FC236}">
                <a16:creationId xmlns:a16="http://schemas.microsoft.com/office/drawing/2014/main" id="{C1999494-284E-555A-0180-93BAB109CF51}"/>
              </a:ext>
            </a:extLst>
          </p:cNvPr>
          <p:cNvSpPr/>
          <p:nvPr/>
        </p:nvSpPr>
        <p:spPr>
          <a:xfrm>
            <a:off x="5505453" y="257571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4" name="Freeform 360">
            <a:extLst>
              <a:ext uri="{FF2B5EF4-FFF2-40B4-BE49-F238E27FC236}">
                <a16:creationId xmlns:a16="http://schemas.microsoft.com/office/drawing/2014/main" id="{802379F8-2648-7397-7475-925B24B3F112}"/>
              </a:ext>
            </a:extLst>
          </p:cNvPr>
          <p:cNvSpPr/>
          <p:nvPr/>
        </p:nvSpPr>
        <p:spPr>
          <a:xfrm>
            <a:off x="5439965" y="2632035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5" name="Freeform 362">
            <a:extLst>
              <a:ext uri="{FF2B5EF4-FFF2-40B4-BE49-F238E27FC236}">
                <a16:creationId xmlns:a16="http://schemas.microsoft.com/office/drawing/2014/main" id="{33E2567F-1EFA-7E64-62A1-30EB93EBED77}"/>
              </a:ext>
            </a:extLst>
          </p:cNvPr>
          <p:cNvSpPr/>
          <p:nvPr/>
        </p:nvSpPr>
        <p:spPr>
          <a:xfrm>
            <a:off x="5481239" y="2575711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6" name="Freeform 363">
            <a:extLst>
              <a:ext uri="{FF2B5EF4-FFF2-40B4-BE49-F238E27FC236}">
                <a16:creationId xmlns:a16="http://schemas.microsoft.com/office/drawing/2014/main" id="{4FE23334-91D7-114D-2A6C-C58CA04A79B7}"/>
              </a:ext>
            </a:extLst>
          </p:cNvPr>
          <p:cNvSpPr/>
          <p:nvPr/>
        </p:nvSpPr>
        <p:spPr>
          <a:xfrm>
            <a:off x="5415752" y="2632035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7" name="Freeform 365">
            <a:extLst>
              <a:ext uri="{FF2B5EF4-FFF2-40B4-BE49-F238E27FC236}">
                <a16:creationId xmlns:a16="http://schemas.microsoft.com/office/drawing/2014/main" id="{5CD3C1EB-CFD6-2867-5A69-9B11B1C7B61D}"/>
              </a:ext>
            </a:extLst>
          </p:cNvPr>
          <p:cNvSpPr/>
          <p:nvPr/>
        </p:nvSpPr>
        <p:spPr>
          <a:xfrm>
            <a:off x="5247356" y="2499509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8" name="Freeform 366">
            <a:extLst>
              <a:ext uri="{FF2B5EF4-FFF2-40B4-BE49-F238E27FC236}">
                <a16:creationId xmlns:a16="http://schemas.microsoft.com/office/drawing/2014/main" id="{B5FBEECC-2FAD-1CF5-0A03-606C1553ADA5}"/>
              </a:ext>
            </a:extLst>
          </p:cNvPr>
          <p:cNvSpPr/>
          <p:nvPr/>
        </p:nvSpPr>
        <p:spPr>
          <a:xfrm>
            <a:off x="5181318" y="2556306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9" name="Freeform 368">
            <a:extLst>
              <a:ext uri="{FF2B5EF4-FFF2-40B4-BE49-F238E27FC236}">
                <a16:creationId xmlns:a16="http://schemas.microsoft.com/office/drawing/2014/main" id="{AFB3BD20-3222-4162-8380-B1D7E6F3BF8C}"/>
              </a:ext>
            </a:extLst>
          </p:cNvPr>
          <p:cNvSpPr/>
          <p:nvPr/>
        </p:nvSpPr>
        <p:spPr>
          <a:xfrm>
            <a:off x="5060799" y="2475845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0" name="Freeform 369">
            <a:extLst>
              <a:ext uri="{FF2B5EF4-FFF2-40B4-BE49-F238E27FC236}">
                <a16:creationId xmlns:a16="http://schemas.microsoft.com/office/drawing/2014/main" id="{6E40FA78-7A24-CEC7-C291-77C10CDA1C7A}"/>
              </a:ext>
            </a:extLst>
          </p:cNvPr>
          <p:cNvSpPr/>
          <p:nvPr/>
        </p:nvSpPr>
        <p:spPr>
          <a:xfrm>
            <a:off x="4994762" y="2532641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1" name="Freeform 371">
            <a:extLst>
              <a:ext uri="{FF2B5EF4-FFF2-40B4-BE49-F238E27FC236}">
                <a16:creationId xmlns:a16="http://schemas.microsoft.com/office/drawing/2014/main" id="{DFCCEA38-8001-F916-8F3B-9F99CF7B54B4}"/>
              </a:ext>
            </a:extLst>
          </p:cNvPr>
          <p:cNvSpPr/>
          <p:nvPr/>
        </p:nvSpPr>
        <p:spPr>
          <a:xfrm>
            <a:off x="4774087" y="242993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2" name="Freeform 372">
            <a:extLst>
              <a:ext uri="{FF2B5EF4-FFF2-40B4-BE49-F238E27FC236}">
                <a16:creationId xmlns:a16="http://schemas.microsoft.com/office/drawing/2014/main" id="{65C44E3E-110D-E74F-8B0D-343EFB176205}"/>
              </a:ext>
            </a:extLst>
          </p:cNvPr>
          <p:cNvSpPr/>
          <p:nvPr/>
        </p:nvSpPr>
        <p:spPr>
          <a:xfrm>
            <a:off x="4708599" y="2486731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3" name="Freeform 374">
            <a:extLst>
              <a:ext uri="{FF2B5EF4-FFF2-40B4-BE49-F238E27FC236}">
                <a16:creationId xmlns:a16="http://schemas.microsoft.com/office/drawing/2014/main" id="{1A732357-837A-898C-F393-2CBD4AF9610A}"/>
              </a:ext>
            </a:extLst>
          </p:cNvPr>
          <p:cNvSpPr/>
          <p:nvPr/>
        </p:nvSpPr>
        <p:spPr>
          <a:xfrm>
            <a:off x="4631005" y="242993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4" name="Freeform 375">
            <a:extLst>
              <a:ext uri="{FF2B5EF4-FFF2-40B4-BE49-F238E27FC236}">
                <a16:creationId xmlns:a16="http://schemas.microsoft.com/office/drawing/2014/main" id="{A4A6D160-87B9-1A09-C139-D7E6B80D23E9}"/>
              </a:ext>
            </a:extLst>
          </p:cNvPr>
          <p:cNvSpPr/>
          <p:nvPr/>
        </p:nvSpPr>
        <p:spPr>
          <a:xfrm>
            <a:off x="4564967" y="2486731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5" name="Freeform 377">
            <a:extLst>
              <a:ext uri="{FF2B5EF4-FFF2-40B4-BE49-F238E27FC236}">
                <a16:creationId xmlns:a16="http://schemas.microsoft.com/office/drawing/2014/main" id="{B221A5D7-BDBD-7E10-B210-CDEC899FE528}"/>
              </a:ext>
            </a:extLst>
          </p:cNvPr>
          <p:cNvSpPr/>
          <p:nvPr/>
        </p:nvSpPr>
        <p:spPr>
          <a:xfrm>
            <a:off x="4228176" y="2339533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6" name="Freeform 378">
            <a:extLst>
              <a:ext uri="{FF2B5EF4-FFF2-40B4-BE49-F238E27FC236}">
                <a16:creationId xmlns:a16="http://schemas.microsoft.com/office/drawing/2014/main" id="{66BFDE09-FDA7-D382-4471-67F6D939EAD5}"/>
              </a:ext>
            </a:extLst>
          </p:cNvPr>
          <p:cNvSpPr/>
          <p:nvPr/>
        </p:nvSpPr>
        <p:spPr>
          <a:xfrm>
            <a:off x="4162138" y="2396329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7" name="Freeform 380">
            <a:extLst>
              <a:ext uri="{FF2B5EF4-FFF2-40B4-BE49-F238E27FC236}">
                <a16:creationId xmlns:a16="http://schemas.microsoft.com/office/drawing/2014/main" id="{126C867F-54E6-4268-82E2-92D83D2363B5}"/>
              </a:ext>
            </a:extLst>
          </p:cNvPr>
          <p:cNvSpPr/>
          <p:nvPr/>
        </p:nvSpPr>
        <p:spPr>
          <a:xfrm>
            <a:off x="4211116" y="2295043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8" name="Freeform 381">
            <a:extLst>
              <a:ext uri="{FF2B5EF4-FFF2-40B4-BE49-F238E27FC236}">
                <a16:creationId xmlns:a16="http://schemas.microsoft.com/office/drawing/2014/main" id="{C81F731A-F89D-C508-FDCB-52E6340E396A}"/>
              </a:ext>
            </a:extLst>
          </p:cNvPr>
          <p:cNvSpPr/>
          <p:nvPr/>
        </p:nvSpPr>
        <p:spPr>
          <a:xfrm>
            <a:off x="4145079" y="2351839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9" name="Freeform 383">
            <a:extLst>
              <a:ext uri="{FF2B5EF4-FFF2-40B4-BE49-F238E27FC236}">
                <a16:creationId xmlns:a16="http://schemas.microsoft.com/office/drawing/2014/main" id="{7AD1542F-C825-7DAE-8E36-0D97C56761B4}"/>
              </a:ext>
            </a:extLst>
          </p:cNvPr>
          <p:cNvSpPr/>
          <p:nvPr/>
        </p:nvSpPr>
        <p:spPr>
          <a:xfrm>
            <a:off x="4074638" y="2208428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0" name="Freeform 384">
            <a:extLst>
              <a:ext uri="{FF2B5EF4-FFF2-40B4-BE49-F238E27FC236}">
                <a16:creationId xmlns:a16="http://schemas.microsoft.com/office/drawing/2014/main" id="{B090470F-1639-87CA-D1A9-79BDA1E17F09}"/>
              </a:ext>
            </a:extLst>
          </p:cNvPr>
          <p:cNvSpPr/>
          <p:nvPr/>
        </p:nvSpPr>
        <p:spPr>
          <a:xfrm>
            <a:off x="4008601" y="2265225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1" name="Freeform 386">
            <a:extLst>
              <a:ext uri="{FF2B5EF4-FFF2-40B4-BE49-F238E27FC236}">
                <a16:creationId xmlns:a16="http://schemas.microsoft.com/office/drawing/2014/main" id="{612F28F0-FC07-4A5A-5891-7F220AD6239B}"/>
              </a:ext>
            </a:extLst>
          </p:cNvPr>
          <p:cNvSpPr/>
          <p:nvPr/>
        </p:nvSpPr>
        <p:spPr>
          <a:xfrm>
            <a:off x="4022358" y="2188550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2" name="Freeform 387">
            <a:extLst>
              <a:ext uri="{FF2B5EF4-FFF2-40B4-BE49-F238E27FC236}">
                <a16:creationId xmlns:a16="http://schemas.microsoft.com/office/drawing/2014/main" id="{DBE0ED24-7E1D-EB07-324C-CF3F05C8FF8E}"/>
              </a:ext>
            </a:extLst>
          </p:cNvPr>
          <p:cNvSpPr/>
          <p:nvPr/>
        </p:nvSpPr>
        <p:spPr>
          <a:xfrm>
            <a:off x="3956321" y="2245346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3" name="Freeform 389">
            <a:extLst>
              <a:ext uri="{FF2B5EF4-FFF2-40B4-BE49-F238E27FC236}">
                <a16:creationId xmlns:a16="http://schemas.microsoft.com/office/drawing/2014/main" id="{310BB0F8-E2D9-A621-34C1-81BF05461E8C}"/>
              </a:ext>
            </a:extLst>
          </p:cNvPr>
          <p:cNvSpPr/>
          <p:nvPr/>
        </p:nvSpPr>
        <p:spPr>
          <a:xfrm>
            <a:off x="3979435" y="214453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4" name="Freeform 390">
            <a:extLst>
              <a:ext uri="{FF2B5EF4-FFF2-40B4-BE49-F238E27FC236}">
                <a16:creationId xmlns:a16="http://schemas.microsoft.com/office/drawing/2014/main" id="{F53A3287-09D6-58E1-7F09-ED36F5584E55}"/>
              </a:ext>
            </a:extLst>
          </p:cNvPr>
          <p:cNvSpPr/>
          <p:nvPr/>
        </p:nvSpPr>
        <p:spPr>
          <a:xfrm>
            <a:off x="3913396" y="2201329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5" name="Freeform 392">
            <a:extLst>
              <a:ext uri="{FF2B5EF4-FFF2-40B4-BE49-F238E27FC236}">
                <a16:creationId xmlns:a16="http://schemas.microsoft.com/office/drawing/2014/main" id="{30576A8B-525F-6D5D-E701-BDAA0F615EAF}"/>
              </a:ext>
            </a:extLst>
          </p:cNvPr>
          <p:cNvSpPr/>
          <p:nvPr/>
        </p:nvSpPr>
        <p:spPr>
          <a:xfrm>
            <a:off x="3960174" y="214453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6" name="Freeform 393">
            <a:extLst>
              <a:ext uri="{FF2B5EF4-FFF2-40B4-BE49-F238E27FC236}">
                <a16:creationId xmlns:a16="http://schemas.microsoft.com/office/drawing/2014/main" id="{AC4B26FE-030A-FADF-15F0-9C8E4109C815}"/>
              </a:ext>
            </a:extLst>
          </p:cNvPr>
          <p:cNvSpPr/>
          <p:nvPr/>
        </p:nvSpPr>
        <p:spPr>
          <a:xfrm>
            <a:off x="3894136" y="220132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7" name="Freeform 395">
            <a:extLst>
              <a:ext uri="{FF2B5EF4-FFF2-40B4-BE49-F238E27FC236}">
                <a16:creationId xmlns:a16="http://schemas.microsoft.com/office/drawing/2014/main" id="{3C4E965C-B8CF-F539-D96F-E03B30886DD2}"/>
              </a:ext>
            </a:extLst>
          </p:cNvPr>
          <p:cNvSpPr/>
          <p:nvPr/>
        </p:nvSpPr>
        <p:spPr>
          <a:xfrm>
            <a:off x="3918349" y="214453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8" name="Freeform 396">
            <a:extLst>
              <a:ext uri="{FF2B5EF4-FFF2-40B4-BE49-F238E27FC236}">
                <a16:creationId xmlns:a16="http://schemas.microsoft.com/office/drawing/2014/main" id="{46AA96B3-4FE7-3DA7-A98D-10CD22EBA5F2}"/>
              </a:ext>
            </a:extLst>
          </p:cNvPr>
          <p:cNvSpPr/>
          <p:nvPr/>
        </p:nvSpPr>
        <p:spPr>
          <a:xfrm>
            <a:off x="3852863" y="220132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9" name="Freeform 398">
            <a:extLst>
              <a:ext uri="{FF2B5EF4-FFF2-40B4-BE49-F238E27FC236}">
                <a16:creationId xmlns:a16="http://schemas.microsoft.com/office/drawing/2014/main" id="{77862EAD-7D58-869B-5026-9F6D7032959E}"/>
              </a:ext>
            </a:extLst>
          </p:cNvPr>
          <p:cNvSpPr/>
          <p:nvPr/>
        </p:nvSpPr>
        <p:spPr>
          <a:xfrm>
            <a:off x="3879277" y="214453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0" name="Freeform 399">
            <a:extLst>
              <a:ext uri="{FF2B5EF4-FFF2-40B4-BE49-F238E27FC236}">
                <a16:creationId xmlns:a16="http://schemas.microsoft.com/office/drawing/2014/main" id="{4DD23CE4-8163-4CD8-F8C8-59D1D517FB49}"/>
              </a:ext>
            </a:extLst>
          </p:cNvPr>
          <p:cNvSpPr/>
          <p:nvPr/>
        </p:nvSpPr>
        <p:spPr>
          <a:xfrm>
            <a:off x="3813789" y="2201329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1" name="Freeform 401">
            <a:extLst>
              <a:ext uri="{FF2B5EF4-FFF2-40B4-BE49-F238E27FC236}">
                <a16:creationId xmlns:a16="http://schemas.microsoft.com/office/drawing/2014/main" id="{6DE16821-310B-86F6-1EBE-8D3CEF46E479}"/>
              </a:ext>
            </a:extLst>
          </p:cNvPr>
          <p:cNvSpPr/>
          <p:nvPr/>
        </p:nvSpPr>
        <p:spPr>
          <a:xfrm>
            <a:off x="3838004" y="214453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2" name="Freeform 402">
            <a:extLst>
              <a:ext uri="{FF2B5EF4-FFF2-40B4-BE49-F238E27FC236}">
                <a16:creationId xmlns:a16="http://schemas.microsoft.com/office/drawing/2014/main" id="{5532BC4C-C226-607D-A9F3-77E8D6846D3F}"/>
              </a:ext>
            </a:extLst>
          </p:cNvPr>
          <p:cNvSpPr/>
          <p:nvPr/>
        </p:nvSpPr>
        <p:spPr>
          <a:xfrm>
            <a:off x="3771966" y="2201329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3" name="Freeform 404">
            <a:extLst>
              <a:ext uri="{FF2B5EF4-FFF2-40B4-BE49-F238E27FC236}">
                <a16:creationId xmlns:a16="http://schemas.microsoft.com/office/drawing/2014/main" id="{BEAB557D-9C8E-04D0-B29C-77647CB89D3A}"/>
              </a:ext>
            </a:extLst>
          </p:cNvPr>
          <p:cNvSpPr/>
          <p:nvPr/>
        </p:nvSpPr>
        <p:spPr>
          <a:xfrm>
            <a:off x="3781872" y="2083476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4" name="Freeform 405">
            <a:extLst>
              <a:ext uri="{FF2B5EF4-FFF2-40B4-BE49-F238E27FC236}">
                <a16:creationId xmlns:a16="http://schemas.microsoft.com/office/drawing/2014/main" id="{A3CB11F3-9272-FFD5-527E-11DF214AC31F}"/>
              </a:ext>
            </a:extLst>
          </p:cNvPr>
          <p:cNvSpPr/>
          <p:nvPr/>
        </p:nvSpPr>
        <p:spPr>
          <a:xfrm>
            <a:off x="3716384" y="2140273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5" name="Freeform 407">
            <a:extLst>
              <a:ext uri="{FF2B5EF4-FFF2-40B4-BE49-F238E27FC236}">
                <a16:creationId xmlns:a16="http://schemas.microsoft.com/office/drawing/2014/main" id="{22D3176B-5861-A1A9-5903-991C195EAFD2}"/>
              </a:ext>
            </a:extLst>
          </p:cNvPr>
          <p:cNvSpPr/>
          <p:nvPr/>
        </p:nvSpPr>
        <p:spPr>
          <a:xfrm>
            <a:off x="3598618" y="2028573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6" name="Freeform 408">
            <a:extLst>
              <a:ext uri="{FF2B5EF4-FFF2-40B4-BE49-F238E27FC236}">
                <a16:creationId xmlns:a16="http://schemas.microsoft.com/office/drawing/2014/main" id="{29AAED82-3970-6E97-4EE9-587E0AEB8FD2}"/>
              </a:ext>
            </a:extLst>
          </p:cNvPr>
          <p:cNvSpPr/>
          <p:nvPr/>
        </p:nvSpPr>
        <p:spPr>
          <a:xfrm>
            <a:off x="3532579" y="2085370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7" name="Freeform 410">
            <a:extLst>
              <a:ext uri="{FF2B5EF4-FFF2-40B4-BE49-F238E27FC236}">
                <a16:creationId xmlns:a16="http://schemas.microsoft.com/office/drawing/2014/main" id="{52882858-DC45-8CB8-29CD-C5D469617F94}"/>
              </a:ext>
            </a:extLst>
          </p:cNvPr>
          <p:cNvSpPr/>
          <p:nvPr/>
        </p:nvSpPr>
        <p:spPr>
          <a:xfrm>
            <a:off x="3017486" y="172045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8" name="Freeform 411">
            <a:extLst>
              <a:ext uri="{FF2B5EF4-FFF2-40B4-BE49-F238E27FC236}">
                <a16:creationId xmlns:a16="http://schemas.microsoft.com/office/drawing/2014/main" id="{3FEC4BE2-33AD-FE80-9942-DA25C8330B43}"/>
              </a:ext>
            </a:extLst>
          </p:cNvPr>
          <p:cNvSpPr/>
          <p:nvPr/>
        </p:nvSpPr>
        <p:spPr>
          <a:xfrm>
            <a:off x="2952000" y="1776776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9" name="Freeform 413">
            <a:extLst>
              <a:ext uri="{FF2B5EF4-FFF2-40B4-BE49-F238E27FC236}">
                <a16:creationId xmlns:a16="http://schemas.microsoft.com/office/drawing/2014/main" id="{ACC625E5-E9D7-F7D4-BE76-A32791BE2703}"/>
              </a:ext>
            </a:extLst>
          </p:cNvPr>
          <p:cNvSpPr/>
          <p:nvPr/>
        </p:nvSpPr>
        <p:spPr>
          <a:xfrm>
            <a:off x="2987770" y="170057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0" name="Freeform 414">
            <a:extLst>
              <a:ext uri="{FF2B5EF4-FFF2-40B4-BE49-F238E27FC236}">
                <a16:creationId xmlns:a16="http://schemas.microsoft.com/office/drawing/2014/main" id="{30F976CD-225F-A5AD-4E96-10AD50611E5D}"/>
              </a:ext>
            </a:extLst>
          </p:cNvPr>
          <p:cNvSpPr/>
          <p:nvPr/>
        </p:nvSpPr>
        <p:spPr>
          <a:xfrm>
            <a:off x="2921732" y="1756898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1" name="Freeform 416">
            <a:extLst>
              <a:ext uri="{FF2B5EF4-FFF2-40B4-BE49-F238E27FC236}">
                <a16:creationId xmlns:a16="http://schemas.microsoft.com/office/drawing/2014/main" id="{B8775CBA-D6C3-7A25-D7FE-A03A9BD3D445}"/>
              </a:ext>
            </a:extLst>
          </p:cNvPr>
          <p:cNvSpPr/>
          <p:nvPr/>
        </p:nvSpPr>
        <p:spPr>
          <a:xfrm>
            <a:off x="2932188" y="1660818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2" name="Freeform 417">
            <a:extLst>
              <a:ext uri="{FF2B5EF4-FFF2-40B4-BE49-F238E27FC236}">
                <a16:creationId xmlns:a16="http://schemas.microsoft.com/office/drawing/2014/main" id="{8127E6B4-87E7-7AEF-C815-C0F775BFFB7C}"/>
              </a:ext>
            </a:extLst>
          </p:cNvPr>
          <p:cNvSpPr/>
          <p:nvPr/>
        </p:nvSpPr>
        <p:spPr>
          <a:xfrm>
            <a:off x="2866701" y="1717140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3" name="Freeform 419">
            <a:extLst>
              <a:ext uri="{FF2B5EF4-FFF2-40B4-BE49-F238E27FC236}">
                <a16:creationId xmlns:a16="http://schemas.microsoft.com/office/drawing/2014/main" id="{40A83FC0-F818-60EB-A8CF-F6AC540A7759}"/>
              </a:ext>
            </a:extLst>
          </p:cNvPr>
          <p:cNvSpPr/>
          <p:nvPr/>
        </p:nvSpPr>
        <p:spPr>
          <a:xfrm>
            <a:off x="2898069" y="1660818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4" name="Freeform 420">
            <a:extLst>
              <a:ext uri="{FF2B5EF4-FFF2-40B4-BE49-F238E27FC236}">
                <a16:creationId xmlns:a16="http://schemas.microsoft.com/office/drawing/2014/main" id="{0B392EE6-E431-4964-451A-656C47BDA00F}"/>
              </a:ext>
            </a:extLst>
          </p:cNvPr>
          <p:cNvSpPr/>
          <p:nvPr/>
        </p:nvSpPr>
        <p:spPr>
          <a:xfrm>
            <a:off x="2832582" y="1717140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5" name="Freeform 422">
            <a:extLst>
              <a:ext uri="{FF2B5EF4-FFF2-40B4-BE49-F238E27FC236}">
                <a16:creationId xmlns:a16="http://schemas.microsoft.com/office/drawing/2014/main" id="{0209F0B2-6554-98FC-428F-96F8BC9E90B0}"/>
              </a:ext>
            </a:extLst>
          </p:cNvPr>
          <p:cNvSpPr/>
          <p:nvPr/>
        </p:nvSpPr>
        <p:spPr>
          <a:xfrm>
            <a:off x="2789658" y="1645198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6" name="Freeform 423">
            <a:extLst>
              <a:ext uri="{FF2B5EF4-FFF2-40B4-BE49-F238E27FC236}">
                <a16:creationId xmlns:a16="http://schemas.microsoft.com/office/drawing/2014/main" id="{FD7686E3-4EE1-6F3D-EE2D-759B874EE75B}"/>
              </a:ext>
            </a:extLst>
          </p:cNvPr>
          <p:cNvSpPr/>
          <p:nvPr/>
        </p:nvSpPr>
        <p:spPr>
          <a:xfrm>
            <a:off x="2723619" y="1701994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7" name="Freeform 425">
            <a:extLst>
              <a:ext uri="{FF2B5EF4-FFF2-40B4-BE49-F238E27FC236}">
                <a16:creationId xmlns:a16="http://schemas.microsoft.com/office/drawing/2014/main" id="{975882D4-97C6-B579-4E47-A0A8DBFE1793}"/>
              </a:ext>
            </a:extLst>
          </p:cNvPr>
          <p:cNvSpPr/>
          <p:nvPr/>
        </p:nvSpPr>
        <p:spPr>
          <a:xfrm>
            <a:off x="2698306" y="1498948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8" name="Freeform 426">
            <a:extLst>
              <a:ext uri="{FF2B5EF4-FFF2-40B4-BE49-F238E27FC236}">
                <a16:creationId xmlns:a16="http://schemas.microsoft.com/office/drawing/2014/main" id="{820AF327-49F7-6E18-AE55-065B6A69421E}"/>
              </a:ext>
            </a:extLst>
          </p:cNvPr>
          <p:cNvSpPr/>
          <p:nvPr/>
        </p:nvSpPr>
        <p:spPr>
          <a:xfrm>
            <a:off x="2632267" y="155574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9" name="Freeform 428">
            <a:extLst>
              <a:ext uri="{FF2B5EF4-FFF2-40B4-BE49-F238E27FC236}">
                <a16:creationId xmlns:a16="http://schemas.microsoft.com/office/drawing/2014/main" id="{7B8F1455-9710-CA51-649E-258D090DD036}"/>
              </a:ext>
            </a:extLst>
          </p:cNvPr>
          <p:cNvSpPr/>
          <p:nvPr/>
        </p:nvSpPr>
        <p:spPr>
          <a:xfrm>
            <a:off x="2566781" y="1498948"/>
            <a:ext cx="5502" cy="113592"/>
          </a:xfrm>
          <a:custGeom>
            <a:avLst/>
            <a:gdLst>
              <a:gd name="connsiteX0" fmla="*/ 0 w 4366"/>
              <a:gd name="connsiteY0" fmla="*/ 0 h 104796"/>
              <a:gd name="connsiteX1" fmla="*/ 0 w 4366"/>
              <a:gd name="connsiteY1" fmla="*/ 104796 h 104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796">
                <a:moveTo>
                  <a:pt x="0" y="0"/>
                </a:moveTo>
                <a:lnTo>
                  <a:pt x="0" y="104796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0" name="Freeform 429">
            <a:extLst>
              <a:ext uri="{FF2B5EF4-FFF2-40B4-BE49-F238E27FC236}">
                <a16:creationId xmlns:a16="http://schemas.microsoft.com/office/drawing/2014/main" id="{51C32D46-2468-2864-4DDA-ED3F5E6EE7F2}"/>
              </a:ext>
            </a:extLst>
          </p:cNvPr>
          <p:cNvSpPr/>
          <p:nvPr/>
        </p:nvSpPr>
        <p:spPr>
          <a:xfrm>
            <a:off x="2500743" y="155574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1" name="Freeform 431">
            <a:extLst>
              <a:ext uri="{FF2B5EF4-FFF2-40B4-BE49-F238E27FC236}">
                <a16:creationId xmlns:a16="http://schemas.microsoft.com/office/drawing/2014/main" id="{4A273E60-7D63-A349-05C6-F39749E00002}"/>
              </a:ext>
            </a:extLst>
          </p:cNvPr>
          <p:cNvSpPr/>
          <p:nvPr/>
        </p:nvSpPr>
        <p:spPr>
          <a:xfrm>
            <a:off x="2546419" y="144357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2" name="Freeform 432">
            <a:extLst>
              <a:ext uri="{FF2B5EF4-FFF2-40B4-BE49-F238E27FC236}">
                <a16:creationId xmlns:a16="http://schemas.microsoft.com/office/drawing/2014/main" id="{1AB5260A-687A-2B76-6A21-11340F7F4A82}"/>
              </a:ext>
            </a:extLst>
          </p:cNvPr>
          <p:cNvSpPr/>
          <p:nvPr/>
        </p:nvSpPr>
        <p:spPr>
          <a:xfrm>
            <a:off x="2480381" y="1500368"/>
            <a:ext cx="132075" cy="4732"/>
          </a:xfrm>
          <a:custGeom>
            <a:avLst/>
            <a:gdLst>
              <a:gd name="connsiteX0" fmla="*/ 0 w 104796"/>
              <a:gd name="connsiteY0" fmla="*/ 0 h 4366"/>
              <a:gd name="connsiteX1" fmla="*/ 104796 w 104796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796" h="4366">
                <a:moveTo>
                  <a:pt x="0" y="0"/>
                </a:moveTo>
                <a:lnTo>
                  <a:pt x="104796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3" name="Freeform 434">
            <a:extLst>
              <a:ext uri="{FF2B5EF4-FFF2-40B4-BE49-F238E27FC236}">
                <a16:creationId xmlns:a16="http://schemas.microsoft.com/office/drawing/2014/main" id="{31B0D06A-920B-100B-D7DD-CE97B041AAEB}"/>
              </a:ext>
            </a:extLst>
          </p:cNvPr>
          <p:cNvSpPr/>
          <p:nvPr/>
        </p:nvSpPr>
        <p:spPr>
          <a:xfrm>
            <a:off x="2488636" y="1427478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4" name="Freeform 435">
            <a:extLst>
              <a:ext uri="{FF2B5EF4-FFF2-40B4-BE49-F238E27FC236}">
                <a16:creationId xmlns:a16="http://schemas.microsoft.com/office/drawing/2014/main" id="{9F74B8FC-0B01-F3C6-E7BE-8D069A6883A2}"/>
              </a:ext>
            </a:extLst>
          </p:cNvPr>
          <p:cNvSpPr/>
          <p:nvPr/>
        </p:nvSpPr>
        <p:spPr>
          <a:xfrm>
            <a:off x="2422598" y="1483802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5" name="Freeform 437">
            <a:extLst>
              <a:ext uri="{FF2B5EF4-FFF2-40B4-BE49-F238E27FC236}">
                <a16:creationId xmlns:a16="http://schemas.microsoft.com/office/drawing/2014/main" id="{5C306636-E1CC-7723-4C35-44E7CF334516}"/>
              </a:ext>
            </a:extLst>
          </p:cNvPr>
          <p:cNvSpPr/>
          <p:nvPr/>
        </p:nvSpPr>
        <p:spPr>
          <a:xfrm>
            <a:off x="2439658" y="140949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6" name="Freeform 438">
            <a:extLst>
              <a:ext uri="{FF2B5EF4-FFF2-40B4-BE49-F238E27FC236}">
                <a16:creationId xmlns:a16="http://schemas.microsoft.com/office/drawing/2014/main" id="{EA91A05E-915B-91F3-BCC1-603DFF7E78D3}"/>
              </a:ext>
            </a:extLst>
          </p:cNvPr>
          <p:cNvSpPr/>
          <p:nvPr/>
        </p:nvSpPr>
        <p:spPr>
          <a:xfrm>
            <a:off x="2374171" y="1466290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7" name="Freeform 440">
            <a:extLst>
              <a:ext uri="{FF2B5EF4-FFF2-40B4-BE49-F238E27FC236}">
                <a16:creationId xmlns:a16="http://schemas.microsoft.com/office/drawing/2014/main" id="{AC60FB83-053B-201F-4E74-E2C7E256B786}"/>
              </a:ext>
            </a:extLst>
          </p:cNvPr>
          <p:cNvSpPr/>
          <p:nvPr/>
        </p:nvSpPr>
        <p:spPr>
          <a:xfrm>
            <a:off x="2361514" y="1340392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8" name="Freeform 441">
            <a:extLst>
              <a:ext uri="{FF2B5EF4-FFF2-40B4-BE49-F238E27FC236}">
                <a16:creationId xmlns:a16="http://schemas.microsoft.com/office/drawing/2014/main" id="{F7500504-58EA-1DC5-E8DB-DAD3355B47D1}"/>
              </a:ext>
            </a:extLst>
          </p:cNvPr>
          <p:cNvSpPr/>
          <p:nvPr/>
        </p:nvSpPr>
        <p:spPr>
          <a:xfrm>
            <a:off x="2296026" y="1396714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9" name="Freeform 443">
            <a:extLst>
              <a:ext uri="{FF2B5EF4-FFF2-40B4-BE49-F238E27FC236}">
                <a16:creationId xmlns:a16="http://schemas.microsoft.com/office/drawing/2014/main" id="{21640958-5A2B-E406-E638-2D92B796A53E}"/>
              </a:ext>
            </a:extLst>
          </p:cNvPr>
          <p:cNvSpPr/>
          <p:nvPr/>
        </p:nvSpPr>
        <p:spPr>
          <a:xfrm>
            <a:off x="2118825" y="1234844"/>
            <a:ext cx="5502" cy="113119"/>
          </a:xfrm>
          <a:custGeom>
            <a:avLst/>
            <a:gdLst>
              <a:gd name="connsiteX0" fmla="*/ 0 w 4366"/>
              <a:gd name="connsiteY0" fmla="*/ 0 h 104359"/>
              <a:gd name="connsiteX1" fmla="*/ 0 w 4366"/>
              <a:gd name="connsiteY1" fmla="*/ 104360 h 10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66" h="104359">
                <a:moveTo>
                  <a:pt x="0" y="0"/>
                </a:moveTo>
                <a:lnTo>
                  <a:pt x="0" y="10436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0" name="Freeform 444">
            <a:extLst>
              <a:ext uri="{FF2B5EF4-FFF2-40B4-BE49-F238E27FC236}">
                <a16:creationId xmlns:a16="http://schemas.microsoft.com/office/drawing/2014/main" id="{EECAE768-53E1-41A5-E12B-A3C3EE62B148}"/>
              </a:ext>
            </a:extLst>
          </p:cNvPr>
          <p:cNvSpPr/>
          <p:nvPr/>
        </p:nvSpPr>
        <p:spPr>
          <a:xfrm>
            <a:off x="2052788" y="1291168"/>
            <a:ext cx="131524" cy="4732"/>
          </a:xfrm>
          <a:custGeom>
            <a:avLst/>
            <a:gdLst>
              <a:gd name="connsiteX0" fmla="*/ 0 w 104359"/>
              <a:gd name="connsiteY0" fmla="*/ 0 h 4366"/>
              <a:gd name="connsiteX1" fmla="*/ 104360 w 104359"/>
              <a:gd name="connsiteY1" fmla="*/ 0 h 4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4359" h="4366">
                <a:moveTo>
                  <a:pt x="0" y="0"/>
                </a:moveTo>
                <a:lnTo>
                  <a:pt x="104360" y="0"/>
                </a:lnTo>
              </a:path>
            </a:pathLst>
          </a:custGeom>
          <a:ln w="12700" cap="flat">
            <a:solidFill>
              <a:schemeClr val="bg2">
                <a:lumMod val="50000"/>
              </a:scheme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1" name="TextBox 320">
            <a:extLst>
              <a:ext uri="{FF2B5EF4-FFF2-40B4-BE49-F238E27FC236}">
                <a16:creationId xmlns:a16="http://schemas.microsoft.com/office/drawing/2014/main" id="{73A34F8C-249C-E001-2C8D-FCC67AF74C8F}"/>
              </a:ext>
            </a:extLst>
          </p:cNvPr>
          <p:cNvSpPr txBox="1"/>
          <p:nvPr/>
        </p:nvSpPr>
        <p:spPr>
          <a:xfrm rot="16200000">
            <a:off x="-35504" y="2379698"/>
            <a:ext cx="255069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Proportion alive and progression free</a:t>
            </a:r>
          </a:p>
        </p:txBody>
      </p:sp>
      <p:grpSp>
        <p:nvGrpSpPr>
          <p:cNvPr id="322" name="Group 321">
            <a:extLst>
              <a:ext uri="{FF2B5EF4-FFF2-40B4-BE49-F238E27FC236}">
                <a16:creationId xmlns:a16="http://schemas.microsoft.com/office/drawing/2014/main" id="{E20E58D3-51CB-E1CE-16A6-6ADFAC24A9FD}"/>
              </a:ext>
            </a:extLst>
          </p:cNvPr>
          <p:cNvGrpSpPr/>
          <p:nvPr/>
        </p:nvGrpSpPr>
        <p:grpSpPr>
          <a:xfrm>
            <a:off x="1471664" y="1200713"/>
            <a:ext cx="253771" cy="2635156"/>
            <a:chOff x="1683866" y="1456247"/>
            <a:chExt cx="138937" cy="2698257"/>
          </a:xfrm>
        </p:grpSpPr>
        <p:sp>
          <p:nvSpPr>
            <p:cNvPr id="323" name="TextBox 322">
              <a:extLst>
                <a:ext uri="{FF2B5EF4-FFF2-40B4-BE49-F238E27FC236}">
                  <a16:creationId xmlns:a16="http://schemas.microsoft.com/office/drawing/2014/main" id="{94D5744E-4B4A-DA5C-59D3-073FDAA12174}"/>
                </a:ext>
              </a:extLst>
            </p:cNvPr>
            <p:cNvSpPr txBox="1"/>
            <p:nvPr/>
          </p:nvSpPr>
          <p:spPr>
            <a:xfrm>
              <a:off x="1693391" y="3975164"/>
              <a:ext cx="129412" cy="1793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/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  <a:rtl val="0"/>
                </a:rPr>
                <a:t>0.0</a:t>
              </a:r>
            </a:p>
          </p:txBody>
        </p:sp>
        <p:sp>
          <p:nvSpPr>
            <p:cNvPr id="324" name="TextBox 323">
              <a:extLst>
                <a:ext uri="{FF2B5EF4-FFF2-40B4-BE49-F238E27FC236}">
                  <a16:creationId xmlns:a16="http://schemas.microsoft.com/office/drawing/2014/main" id="{AA3CE410-E407-B7B8-577F-7173D25A7D67}"/>
                </a:ext>
              </a:extLst>
            </p:cNvPr>
            <p:cNvSpPr txBox="1"/>
            <p:nvPr/>
          </p:nvSpPr>
          <p:spPr>
            <a:xfrm>
              <a:off x="1693391" y="3469513"/>
              <a:ext cx="129412" cy="1793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/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  <a:rtl val="0"/>
                </a:rPr>
                <a:t>0.2</a:t>
              </a:r>
            </a:p>
          </p:txBody>
        </p:sp>
        <p:sp>
          <p:nvSpPr>
            <p:cNvPr id="325" name="TextBox 324">
              <a:extLst>
                <a:ext uri="{FF2B5EF4-FFF2-40B4-BE49-F238E27FC236}">
                  <a16:creationId xmlns:a16="http://schemas.microsoft.com/office/drawing/2014/main" id="{6CC1C5B2-1667-DFC4-E08B-D9CE9E8A8B94}"/>
                </a:ext>
              </a:extLst>
            </p:cNvPr>
            <p:cNvSpPr txBox="1"/>
            <p:nvPr/>
          </p:nvSpPr>
          <p:spPr>
            <a:xfrm>
              <a:off x="1693391" y="2956865"/>
              <a:ext cx="129412" cy="1793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/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  <a:rtl val="0"/>
                </a:rPr>
                <a:t>0.4</a:t>
              </a:r>
            </a:p>
          </p:txBody>
        </p:sp>
        <p:sp>
          <p:nvSpPr>
            <p:cNvPr id="326" name="TextBox 325">
              <a:extLst>
                <a:ext uri="{FF2B5EF4-FFF2-40B4-BE49-F238E27FC236}">
                  <a16:creationId xmlns:a16="http://schemas.microsoft.com/office/drawing/2014/main" id="{32A537B6-EB28-09DC-C32E-2C677DB338E5}"/>
                </a:ext>
              </a:extLst>
            </p:cNvPr>
            <p:cNvSpPr txBox="1"/>
            <p:nvPr/>
          </p:nvSpPr>
          <p:spPr>
            <a:xfrm>
              <a:off x="1683866" y="2462880"/>
              <a:ext cx="129412" cy="1793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/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  <a:rtl val="0"/>
                </a:rPr>
                <a:t>0.6</a:t>
              </a:r>
            </a:p>
          </p:txBody>
        </p:sp>
        <p:sp>
          <p:nvSpPr>
            <p:cNvPr id="327" name="TextBox 326">
              <a:extLst>
                <a:ext uri="{FF2B5EF4-FFF2-40B4-BE49-F238E27FC236}">
                  <a16:creationId xmlns:a16="http://schemas.microsoft.com/office/drawing/2014/main" id="{DCDF3D49-C90F-6E17-F917-063E690D9F38}"/>
                </a:ext>
              </a:extLst>
            </p:cNvPr>
            <p:cNvSpPr txBox="1"/>
            <p:nvPr/>
          </p:nvSpPr>
          <p:spPr>
            <a:xfrm>
              <a:off x="1683866" y="1950231"/>
              <a:ext cx="129412" cy="1793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/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  <a:rtl val="0"/>
                </a:rPr>
                <a:t>0.8</a:t>
              </a:r>
            </a:p>
          </p:txBody>
        </p:sp>
        <p:sp>
          <p:nvSpPr>
            <p:cNvPr id="328" name="TextBox 327">
              <a:extLst>
                <a:ext uri="{FF2B5EF4-FFF2-40B4-BE49-F238E27FC236}">
                  <a16:creationId xmlns:a16="http://schemas.microsoft.com/office/drawing/2014/main" id="{C78AD3D9-93E2-2572-6E1A-8A492D80BBD9}"/>
                </a:ext>
              </a:extLst>
            </p:cNvPr>
            <p:cNvSpPr txBox="1"/>
            <p:nvPr/>
          </p:nvSpPr>
          <p:spPr>
            <a:xfrm>
              <a:off x="1683866" y="1456247"/>
              <a:ext cx="129412" cy="1793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/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  <a:rtl val="0"/>
                </a:rPr>
                <a:t>1.0</a:t>
              </a:r>
            </a:p>
          </p:txBody>
        </p:sp>
      </p:grpSp>
      <p:sp>
        <p:nvSpPr>
          <p:cNvPr id="329" name="TextBox 328">
            <a:extLst>
              <a:ext uri="{FF2B5EF4-FFF2-40B4-BE49-F238E27FC236}">
                <a16:creationId xmlns:a16="http://schemas.microsoft.com/office/drawing/2014/main" id="{E89D97C7-B580-6AE2-51A5-7F40D99EEB35}"/>
              </a:ext>
            </a:extLst>
          </p:cNvPr>
          <p:cNvSpPr txBox="1"/>
          <p:nvPr/>
        </p:nvSpPr>
        <p:spPr>
          <a:xfrm>
            <a:off x="828675" y="4095447"/>
            <a:ext cx="8451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No. at risk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no. of events)</a:t>
            </a: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id="{C4F74E05-FA53-CF60-ED0C-901E7683C685}"/>
              </a:ext>
            </a:extLst>
          </p:cNvPr>
          <p:cNvSpPr txBox="1"/>
          <p:nvPr/>
        </p:nvSpPr>
        <p:spPr>
          <a:xfrm>
            <a:off x="2014843" y="4396075"/>
            <a:ext cx="14427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55</a:t>
            </a:r>
          </a:p>
        </p:txBody>
      </p:sp>
      <p:sp>
        <p:nvSpPr>
          <p:cNvPr id="331" name="TextBox 330">
            <a:extLst>
              <a:ext uri="{FF2B5EF4-FFF2-40B4-BE49-F238E27FC236}">
                <a16:creationId xmlns:a16="http://schemas.microsoft.com/office/drawing/2014/main" id="{D73A3652-71D6-B592-188C-4AF2FEEDB0D9}"/>
              </a:ext>
            </a:extLst>
          </p:cNvPr>
          <p:cNvSpPr txBox="1"/>
          <p:nvPr/>
        </p:nvSpPr>
        <p:spPr>
          <a:xfrm>
            <a:off x="2039086" y="4521169"/>
            <a:ext cx="13305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0)</a:t>
            </a:r>
          </a:p>
        </p:txBody>
      </p:sp>
      <p:sp>
        <p:nvSpPr>
          <p:cNvPr id="332" name="TextBox 331">
            <a:extLst>
              <a:ext uri="{FF2B5EF4-FFF2-40B4-BE49-F238E27FC236}">
                <a16:creationId xmlns:a16="http://schemas.microsoft.com/office/drawing/2014/main" id="{8BD85246-D193-44D1-CD84-86A5AC6C3D32}"/>
              </a:ext>
            </a:extLst>
          </p:cNvPr>
          <p:cNvSpPr txBox="1"/>
          <p:nvPr/>
        </p:nvSpPr>
        <p:spPr>
          <a:xfrm>
            <a:off x="2241020" y="4396075"/>
            <a:ext cx="14587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43</a:t>
            </a:r>
          </a:p>
        </p:txBody>
      </p:sp>
      <p:sp>
        <p:nvSpPr>
          <p:cNvPr id="333" name="TextBox 332">
            <a:extLst>
              <a:ext uri="{FF2B5EF4-FFF2-40B4-BE49-F238E27FC236}">
                <a16:creationId xmlns:a16="http://schemas.microsoft.com/office/drawing/2014/main" id="{9AACFCED-ED6E-94DD-2598-BF005593F7E3}"/>
              </a:ext>
            </a:extLst>
          </p:cNvPr>
          <p:cNvSpPr txBox="1"/>
          <p:nvPr/>
        </p:nvSpPr>
        <p:spPr>
          <a:xfrm>
            <a:off x="2265263" y="4521169"/>
            <a:ext cx="12663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5)</a:t>
            </a:r>
          </a:p>
        </p:txBody>
      </p:sp>
      <p:sp>
        <p:nvSpPr>
          <p:cNvPr id="334" name="TextBox 333">
            <a:extLst>
              <a:ext uri="{FF2B5EF4-FFF2-40B4-BE49-F238E27FC236}">
                <a16:creationId xmlns:a16="http://schemas.microsoft.com/office/drawing/2014/main" id="{EA166E68-87B2-1E43-3BF2-44844D19D1EC}"/>
              </a:ext>
            </a:extLst>
          </p:cNvPr>
          <p:cNvSpPr txBox="1"/>
          <p:nvPr/>
        </p:nvSpPr>
        <p:spPr>
          <a:xfrm>
            <a:off x="2467151" y="4396075"/>
            <a:ext cx="14427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35</a:t>
            </a:r>
          </a:p>
        </p:txBody>
      </p:sp>
      <p:sp>
        <p:nvSpPr>
          <p:cNvPr id="335" name="TextBox 334">
            <a:extLst>
              <a:ext uri="{FF2B5EF4-FFF2-40B4-BE49-F238E27FC236}">
                <a16:creationId xmlns:a16="http://schemas.microsoft.com/office/drawing/2014/main" id="{49465279-9C40-A285-7614-456E44ECF391}"/>
              </a:ext>
            </a:extLst>
          </p:cNvPr>
          <p:cNvSpPr txBox="1"/>
          <p:nvPr/>
        </p:nvSpPr>
        <p:spPr>
          <a:xfrm>
            <a:off x="2460081" y="4521169"/>
            <a:ext cx="16511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10)</a:t>
            </a:r>
          </a:p>
        </p:txBody>
      </p:sp>
      <p:sp>
        <p:nvSpPr>
          <p:cNvPr id="336" name="TextBox 335">
            <a:extLst>
              <a:ext uri="{FF2B5EF4-FFF2-40B4-BE49-F238E27FC236}">
                <a16:creationId xmlns:a16="http://schemas.microsoft.com/office/drawing/2014/main" id="{738CDE8D-A6A9-8C86-1E99-515B1E7C5F5B}"/>
              </a:ext>
            </a:extLst>
          </p:cNvPr>
          <p:cNvSpPr txBox="1"/>
          <p:nvPr/>
        </p:nvSpPr>
        <p:spPr>
          <a:xfrm>
            <a:off x="2697330" y="4396075"/>
            <a:ext cx="15068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30</a:t>
            </a:r>
          </a:p>
        </p:txBody>
      </p:sp>
      <p:sp>
        <p:nvSpPr>
          <p:cNvPr id="337" name="TextBox 336">
            <a:extLst>
              <a:ext uri="{FF2B5EF4-FFF2-40B4-BE49-F238E27FC236}">
                <a16:creationId xmlns:a16="http://schemas.microsoft.com/office/drawing/2014/main" id="{56BF3594-5FAD-D29C-1F73-52BDD80257BA}"/>
              </a:ext>
            </a:extLst>
          </p:cNvPr>
          <p:cNvSpPr txBox="1"/>
          <p:nvPr/>
        </p:nvSpPr>
        <p:spPr>
          <a:xfrm>
            <a:off x="2690260" y="4521169"/>
            <a:ext cx="1586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15)</a:t>
            </a: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41CEB6B8-90B1-61B6-B485-D846B7993800}"/>
              </a:ext>
            </a:extLst>
          </p:cNvPr>
          <p:cNvSpPr txBox="1"/>
          <p:nvPr/>
        </p:nvSpPr>
        <p:spPr>
          <a:xfrm>
            <a:off x="2923508" y="4396075"/>
            <a:ext cx="14266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25</a:t>
            </a:r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88C36703-77D7-4D35-4DFD-216967219391}"/>
              </a:ext>
            </a:extLst>
          </p:cNvPr>
          <p:cNvSpPr txBox="1"/>
          <p:nvPr/>
        </p:nvSpPr>
        <p:spPr>
          <a:xfrm>
            <a:off x="2916438" y="4521169"/>
            <a:ext cx="16030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19)</a:t>
            </a:r>
          </a:p>
        </p:txBody>
      </p:sp>
      <p:sp>
        <p:nvSpPr>
          <p:cNvPr id="340" name="TextBox 339">
            <a:extLst>
              <a:ext uri="{FF2B5EF4-FFF2-40B4-BE49-F238E27FC236}">
                <a16:creationId xmlns:a16="http://schemas.microsoft.com/office/drawing/2014/main" id="{03BFDDD0-6F57-18D3-76F2-D1E91E0BE224}"/>
              </a:ext>
            </a:extLst>
          </p:cNvPr>
          <p:cNvSpPr txBox="1"/>
          <p:nvPr/>
        </p:nvSpPr>
        <p:spPr>
          <a:xfrm>
            <a:off x="3149684" y="4396075"/>
            <a:ext cx="14106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22</a:t>
            </a:r>
          </a:p>
        </p:txBody>
      </p:sp>
      <p:sp>
        <p:nvSpPr>
          <p:cNvPr id="341" name="TextBox 340">
            <a:extLst>
              <a:ext uri="{FF2B5EF4-FFF2-40B4-BE49-F238E27FC236}">
                <a16:creationId xmlns:a16="http://schemas.microsoft.com/office/drawing/2014/main" id="{405043B9-E233-AB7F-B80D-277917CABA47}"/>
              </a:ext>
            </a:extLst>
          </p:cNvPr>
          <p:cNvSpPr txBox="1"/>
          <p:nvPr/>
        </p:nvSpPr>
        <p:spPr>
          <a:xfrm>
            <a:off x="3142614" y="4521169"/>
            <a:ext cx="15709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21)</a:t>
            </a:r>
          </a:p>
        </p:txBody>
      </p:sp>
      <p:sp>
        <p:nvSpPr>
          <p:cNvPr id="342" name="TextBox 341">
            <a:extLst>
              <a:ext uri="{FF2B5EF4-FFF2-40B4-BE49-F238E27FC236}">
                <a16:creationId xmlns:a16="http://schemas.microsoft.com/office/drawing/2014/main" id="{89420D4B-9AC4-FD69-B413-5069DC757B28}"/>
              </a:ext>
            </a:extLst>
          </p:cNvPr>
          <p:cNvSpPr txBox="1"/>
          <p:nvPr/>
        </p:nvSpPr>
        <p:spPr>
          <a:xfrm>
            <a:off x="3379863" y="4396075"/>
            <a:ext cx="11381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17</a:t>
            </a:r>
          </a:p>
        </p:txBody>
      </p:sp>
      <p:sp>
        <p:nvSpPr>
          <p:cNvPr id="343" name="TextBox 342">
            <a:extLst>
              <a:ext uri="{FF2B5EF4-FFF2-40B4-BE49-F238E27FC236}">
                <a16:creationId xmlns:a16="http://schemas.microsoft.com/office/drawing/2014/main" id="{B68AD4A2-CE34-2904-F8F5-BAAB93E58DAB}"/>
              </a:ext>
            </a:extLst>
          </p:cNvPr>
          <p:cNvSpPr txBox="1"/>
          <p:nvPr/>
        </p:nvSpPr>
        <p:spPr>
          <a:xfrm>
            <a:off x="3372793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26)</a:t>
            </a:r>
          </a:p>
        </p:txBody>
      </p:sp>
      <p:sp>
        <p:nvSpPr>
          <p:cNvPr id="344" name="TextBox 343">
            <a:extLst>
              <a:ext uri="{FF2B5EF4-FFF2-40B4-BE49-F238E27FC236}">
                <a16:creationId xmlns:a16="http://schemas.microsoft.com/office/drawing/2014/main" id="{15CD53B3-D514-3651-2417-745C2DE5E9BD}"/>
              </a:ext>
            </a:extLst>
          </p:cNvPr>
          <p:cNvSpPr txBox="1"/>
          <p:nvPr/>
        </p:nvSpPr>
        <p:spPr>
          <a:xfrm>
            <a:off x="3589452" y="4396075"/>
            <a:ext cx="21780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13</a:t>
            </a:r>
          </a:p>
        </p:txBody>
      </p:sp>
      <p:sp>
        <p:nvSpPr>
          <p:cNvPr id="345" name="TextBox 344">
            <a:extLst>
              <a:ext uri="{FF2B5EF4-FFF2-40B4-BE49-F238E27FC236}">
                <a16:creationId xmlns:a16="http://schemas.microsoft.com/office/drawing/2014/main" id="{06FC812A-474B-F5A3-C11E-96DF3440FEBA}"/>
              </a:ext>
            </a:extLst>
          </p:cNvPr>
          <p:cNvSpPr txBox="1"/>
          <p:nvPr/>
        </p:nvSpPr>
        <p:spPr>
          <a:xfrm>
            <a:off x="3609201" y="4520236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28)</a:t>
            </a:r>
          </a:p>
        </p:txBody>
      </p:sp>
      <p:sp>
        <p:nvSpPr>
          <p:cNvPr id="346" name="TextBox 345">
            <a:extLst>
              <a:ext uri="{FF2B5EF4-FFF2-40B4-BE49-F238E27FC236}">
                <a16:creationId xmlns:a16="http://schemas.microsoft.com/office/drawing/2014/main" id="{139713BA-EB36-6182-3745-9DF6B4DF3F90}"/>
              </a:ext>
            </a:extLst>
          </p:cNvPr>
          <p:cNvSpPr txBox="1"/>
          <p:nvPr/>
        </p:nvSpPr>
        <p:spPr>
          <a:xfrm>
            <a:off x="3832218" y="4396075"/>
            <a:ext cx="9618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11</a:t>
            </a:r>
          </a:p>
        </p:txBody>
      </p:sp>
      <p:sp>
        <p:nvSpPr>
          <p:cNvPr id="347" name="TextBox 346">
            <a:extLst>
              <a:ext uri="{FF2B5EF4-FFF2-40B4-BE49-F238E27FC236}">
                <a16:creationId xmlns:a16="http://schemas.microsoft.com/office/drawing/2014/main" id="{B518AB31-BE9A-8E82-0667-A8995C77B83E}"/>
              </a:ext>
            </a:extLst>
          </p:cNvPr>
          <p:cNvSpPr txBox="1"/>
          <p:nvPr/>
        </p:nvSpPr>
        <p:spPr>
          <a:xfrm>
            <a:off x="3825147" y="4521169"/>
            <a:ext cx="1891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30)</a:t>
            </a:r>
          </a:p>
        </p:txBody>
      </p:sp>
      <p:sp>
        <p:nvSpPr>
          <p:cNvPr id="348" name="TextBox 347">
            <a:extLst>
              <a:ext uri="{FF2B5EF4-FFF2-40B4-BE49-F238E27FC236}">
                <a16:creationId xmlns:a16="http://schemas.microsoft.com/office/drawing/2014/main" id="{28FF77F2-C3DD-C9FC-DC3B-E9EFDF81C94A}"/>
              </a:ext>
            </a:extLst>
          </p:cNvPr>
          <p:cNvSpPr txBox="1"/>
          <p:nvPr/>
        </p:nvSpPr>
        <p:spPr>
          <a:xfrm>
            <a:off x="4058395" y="4396075"/>
            <a:ext cx="15228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09</a:t>
            </a:r>
          </a:p>
        </p:txBody>
      </p:sp>
      <p:sp>
        <p:nvSpPr>
          <p:cNvPr id="349" name="TextBox 348">
            <a:extLst>
              <a:ext uri="{FF2B5EF4-FFF2-40B4-BE49-F238E27FC236}">
                <a16:creationId xmlns:a16="http://schemas.microsoft.com/office/drawing/2014/main" id="{2EEB1531-67B8-5167-795F-8154C589BF5B}"/>
              </a:ext>
            </a:extLst>
          </p:cNvPr>
          <p:cNvSpPr txBox="1"/>
          <p:nvPr/>
        </p:nvSpPr>
        <p:spPr>
          <a:xfrm>
            <a:off x="4051325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32)</a:t>
            </a:r>
          </a:p>
        </p:txBody>
      </p:sp>
      <p:sp>
        <p:nvSpPr>
          <p:cNvPr id="350" name="TextBox 349">
            <a:extLst>
              <a:ext uri="{FF2B5EF4-FFF2-40B4-BE49-F238E27FC236}">
                <a16:creationId xmlns:a16="http://schemas.microsoft.com/office/drawing/2014/main" id="{265C4D37-4ACC-FFCF-C80A-9D98D968926E}"/>
              </a:ext>
            </a:extLst>
          </p:cNvPr>
          <p:cNvSpPr txBox="1"/>
          <p:nvPr/>
        </p:nvSpPr>
        <p:spPr>
          <a:xfrm>
            <a:off x="4281251" y="4396075"/>
            <a:ext cx="14427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07</a:t>
            </a:r>
          </a:p>
        </p:txBody>
      </p:sp>
      <p:sp>
        <p:nvSpPr>
          <p:cNvPr id="351" name="TextBox 350">
            <a:extLst>
              <a:ext uri="{FF2B5EF4-FFF2-40B4-BE49-F238E27FC236}">
                <a16:creationId xmlns:a16="http://schemas.microsoft.com/office/drawing/2014/main" id="{E3D07055-3D85-AC46-8E9F-47152600F691}"/>
              </a:ext>
            </a:extLst>
          </p:cNvPr>
          <p:cNvSpPr txBox="1"/>
          <p:nvPr/>
        </p:nvSpPr>
        <p:spPr>
          <a:xfrm>
            <a:off x="4274180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34)</a:t>
            </a:r>
          </a:p>
        </p:txBody>
      </p:sp>
      <p:sp>
        <p:nvSpPr>
          <p:cNvPr id="352" name="TextBox 351">
            <a:extLst>
              <a:ext uri="{FF2B5EF4-FFF2-40B4-BE49-F238E27FC236}">
                <a16:creationId xmlns:a16="http://schemas.microsoft.com/office/drawing/2014/main" id="{94D76DE8-5225-810C-441E-5A19FFFF680F}"/>
              </a:ext>
            </a:extLst>
          </p:cNvPr>
          <p:cNvSpPr txBox="1"/>
          <p:nvPr/>
        </p:nvSpPr>
        <p:spPr>
          <a:xfrm>
            <a:off x="4513673" y="4396075"/>
            <a:ext cx="14908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02</a:t>
            </a:r>
          </a:p>
        </p:txBody>
      </p:sp>
      <p:sp>
        <p:nvSpPr>
          <p:cNvPr id="353" name="TextBox 352">
            <a:extLst>
              <a:ext uri="{FF2B5EF4-FFF2-40B4-BE49-F238E27FC236}">
                <a16:creationId xmlns:a16="http://schemas.microsoft.com/office/drawing/2014/main" id="{88DAC6EE-E7BE-01B0-C26F-DE99E31B78DB}"/>
              </a:ext>
            </a:extLst>
          </p:cNvPr>
          <p:cNvSpPr txBox="1"/>
          <p:nvPr/>
        </p:nvSpPr>
        <p:spPr>
          <a:xfrm>
            <a:off x="4506603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37)</a:t>
            </a:r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EFE2AA45-EE4A-379F-7094-B567E3D9D71E}"/>
              </a:ext>
            </a:extLst>
          </p:cNvPr>
          <p:cNvSpPr txBox="1"/>
          <p:nvPr/>
        </p:nvSpPr>
        <p:spPr>
          <a:xfrm>
            <a:off x="4771194" y="4396075"/>
            <a:ext cx="10740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97</a:t>
            </a:r>
          </a:p>
        </p:txBody>
      </p:sp>
      <p:sp>
        <p:nvSpPr>
          <p:cNvPr id="355" name="TextBox 354">
            <a:extLst>
              <a:ext uri="{FF2B5EF4-FFF2-40B4-BE49-F238E27FC236}">
                <a16:creationId xmlns:a16="http://schemas.microsoft.com/office/drawing/2014/main" id="{139F6AFA-4FFE-8455-B924-C8DF3441616F}"/>
              </a:ext>
            </a:extLst>
          </p:cNvPr>
          <p:cNvSpPr txBox="1"/>
          <p:nvPr/>
        </p:nvSpPr>
        <p:spPr>
          <a:xfrm>
            <a:off x="4732809" y="4521169"/>
            <a:ext cx="16030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41)</a:t>
            </a:r>
          </a:p>
        </p:txBody>
      </p:sp>
      <p:sp>
        <p:nvSpPr>
          <p:cNvPr id="356" name="TextBox 355">
            <a:extLst>
              <a:ext uri="{FF2B5EF4-FFF2-40B4-BE49-F238E27FC236}">
                <a16:creationId xmlns:a16="http://schemas.microsoft.com/office/drawing/2014/main" id="{7E9C2E13-8645-A8E2-F9CD-9B6A19E4B6D6}"/>
              </a:ext>
            </a:extLst>
          </p:cNvPr>
          <p:cNvSpPr txBox="1"/>
          <p:nvPr/>
        </p:nvSpPr>
        <p:spPr>
          <a:xfrm>
            <a:off x="4997668" y="4396075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93</a:t>
            </a:r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D35477C4-6D44-D8C2-013B-4D7600C104FC}"/>
              </a:ext>
            </a:extLst>
          </p:cNvPr>
          <p:cNvSpPr txBox="1"/>
          <p:nvPr/>
        </p:nvSpPr>
        <p:spPr>
          <a:xfrm>
            <a:off x="4959283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42)</a:t>
            </a:r>
          </a:p>
        </p:txBody>
      </p:sp>
      <p:sp>
        <p:nvSpPr>
          <p:cNvPr id="358" name="TextBox 357">
            <a:extLst>
              <a:ext uri="{FF2B5EF4-FFF2-40B4-BE49-F238E27FC236}">
                <a16:creationId xmlns:a16="http://schemas.microsoft.com/office/drawing/2014/main" id="{5857B9D2-2289-F21A-6436-1FC2B45005F8}"/>
              </a:ext>
            </a:extLst>
          </p:cNvPr>
          <p:cNvSpPr txBox="1"/>
          <p:nvPr/>
        </p:nvSpPr>
        <p:spPr>
          <a:xfrm>
            <a:off x="5226780" y="4396075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82</a:t>
            </a:r>
          </a:p>
        </p:txBody>
      </p:sp>
      <p:sp>
        <p:nvSpPr>
          <p:cNvPr id="359" name="TextBox 358">
            <a:extLst>
              <a:ext uri="{FF2B5EF4-FFF2-40B4-BE49-F238E27FC236}">
                <a16:creationId xmlns:a16="http://schemas.microsoft.com/office/drawing/2014/main" id="{A4634AAF-53F9-CE0A-839C-C1C0F80E142A}"/>
              </a:ext>
            </a:extLst>
          </p:cNvPr>
          <p:cNvSpPr txBox="1"/>
          <p:nvPr/>
        </p:nvSpPr>
        <p:spPr>
          <a:xfrm>
            <a:off x="5188395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47)</a:t>
            </a:r>
          </a:p>
        </p:txBody>
      </p:sp>
      <p:sp>
        <p:nvSpPr>
          <p:cNvPr id="360" name="TextBox 359">
            <a:extLst>
              <a:ext uri="{FF2B5EF4-FFF2-40B4-BE49-F238E27FC236}">
                <a16:creationId xmlns:a16="http://schemas.microsoft.com/office/drawing/2014/main" id="{DB041800-9DDA-1BDB-E148-74DE5BAE7D61}"/>
              </a:ext>
            </a:extLst>
          </p:cNvPr>
          <p:cNvSpPr txBox="1"/>
          <p:nvPr/>
        </p:nvSpPr>
        <p:spPr>
          <a:xfrm>
            <a:off x="5451855" y="4396075"/>
            <a:ext cx="12022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80</a:t>
            </a:r>
          </a:p>
        </p:txBody>
      </p:sp>
      <p:sp>
        <p:nvSpPr>
          <p:cNvPr id="361" name="TextBox 360">
            <a:extLst>
              <a:ext uri="{FF2B5EF4-FFF2-40B4-BE49-F238E27FC236}">
                <a16:creationId xmlns:a16="http://schemas.microsoft.com/office/drawing/2014/main" id="{6EF84BAB-A144-4807-82E4-28F3741A7ED2}"/>
              </a:ext>
            </a:extLst>
          </p:cNvPr>
          <p:cNvSpPr txBox="1"/>
          <p:nvPr/>
        </p:nvSpPr>
        <p:spPr>
          <a:xfrm>
            <a:off x="5413470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47)</a:t>
            </a:r>
          </a:p>
        </p:txBody>
      </p:sp>
      <p:sp>
        <p:nvSpPr>
          <p:cNvPr id="362" name="TextBox 361">
            <a:extLst>
              <a:ext uri="{FF2B5EF4-FFF2-40B4-BE49-F238E27FC236}">
                <a16:creationId xmlns:a16="http://schemas.microsoft.com/office/drawing/2014/main" id="{3134C12C-FB31-97D7-1BB9-4C5BF4FB1DA0}"/>
              </a:ext>
            </a:extLst>
          </p:cNvPr>
          <p:cNvSpPr txBox="1"/>
          <p:nvPr/>
        </p:nvSpPr>
        <p:spPr>
          <a:xfrm>
            <a:off x="5682967" y="4396075"/>
            <a:ext cx="9938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77</a:t>
            </a:r>
          </a:p>
        </p:txBody>
      </p:sp>
      <p:sp>
        <p:nvSpPr>
          <p:cNvPr id="363" name="TextBox 362">
            <a:extLst>
              <a:ext uri="{FF2B5EF4-FFF2-40B4-BE49-F238E27FC236}">
                <a16:creationId xmlns:a16="http://schemas.microsoft.com/office/drawing/2014/main" id="{2A1A9C36-059D-5C0B-7911-BCC0C229F23F}"/>
              </a:ext>
            </a:extLst>
          </p:cNvPr>
          <p:cNvSpPr txBox="1"/>
          <p:nvPr/>
        </p:nvSpPr>
        <p:spPr>
          <a:xfrm>
            <a:off x="5644581" y="4521169"/>
            <a:ext cx="18594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49)</a:t>
            </a:r>
          </a:p>
        </p:txBody>
      </p:sp>
      <p:sp>
        <p:nvSpPr>
          <p:cNvPr id="364" name="TextBox 363">
            <a:extLst>
              <a:ext uri="{FF2B5EF4-FFF2-40B4-BE49-F238E27FC236}">
                <a16:creationId xmlns:a16="http://schemas.microsoft.com/office/drawing/2014/main" id="{1AF086BD-7C20-AB36-F9C7-8E757AEE868F}"/>
              </a:ext>
            </a:extLst>
          </p:cNvPr>
          <p:cNvSpPr txBox="1"/>
          <p:nvPr/>
        </p:nvSpPr>
        <p:spPr>
          <a:xfrm>
            <a:off x="5907298" y="4396075"/>
            <a:ext cx="1057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75</a:t>
            </a:r>
          </a:p>
        </p:txBody>
      </p:sp>
      <p:sp>
        <p:nvSpPr>
          <p:cNvPr id="365" name="TextBox 364">
            <a:extLst>
              <a:ext uri="{FF2B5EF4-FFF2-40B4-BE49-F238E27FC236}">
                <a16:creationId xmlns:a16="http://schemas.microsoft.com/office/drawing/2014/main" id="{41102BEF-7B17-A2C7-F8AF-E5CB4DB75715}"/>
              </a:ext>
            </a:extLst>
          </p:cNvPr>
          <p:cNvSpPr txBox="1"/>
          <p:nvPr/>
        </p:nvSpPr>
        <p:spPr>
          <a:xfrm>
            <a:off x="5868913" y="4521169"/>
            <a:ext cx="1891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50)</a:t>
            </a:r>
          </a:p>
        </p:txBody>
      </p:sp>
      <p:sp>
        <p:nvSpPr>
          <p:cNvPr id="366" name="TextBox 365">
            <a:extLst>
              <a:ext uri="{FF2B5EF4-FFF2-40B4-BE49-F238E27FC236}">
                <a16:creationId xmlns:a16="http://schemas.microsoft.com/office/drawing/2014/main" id="{5AB66EA8-ECA3-812A-835C-E5C842A69F91}"/>
              </a:ext>
            </a:extLst>
          </p:cNvPr>
          <p:cNvSpPr txBox="1"/>
          <p:nvPr/>
        </p:nvSpPr>
        <p:spPr>
          <a:xfrm>
            <a:off x="6133720" y="4396075"/>
            <a:ext cx="10419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72</a:t>
            </a:r>
          </a:p>
        </p:txBody>
      </p:sp>
      <p:sp>
        <p:nvSpPr>
          <p:cNvPr id="367" name="TextBox 366">
            <a:extLst>
              <a:ext uri="{FF2B5EF4-FFF2-40B4-BE49-F238E27FC236}">
                <a16:creationId xmlns:a16="http://schemas.microsoft.com/office/drawing/2014/main" id="{183ED794-F4F0-D59E-6E13-3FD25D224868}"/>
              </a:ext>
            </a:extLst>
          </p:cNvPr>
          <p:cNvSpPr txBox="1"/>
          <p:nvPr/>
        </p:nvSpPr>
        <p:spPr>
          <a:xfrm>
            <a:off x="6095335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52)</a:t>
            </a:r>
          </a:p>
        </p:txBody>
      </p:sp>
      <p:sp>
        <p:nvSpPr>
          <p:cNvPr id="368" name="TextBox 367">
            <a:extLst>
              <a:ext uri="{FF2B5EF4-FFF2-40B4-BE49-F238E27FC236}">
                <a16:creationId xmlns:a16="http://schemas.microsoft.com/office/drawing/2014/main" id="{CBCEBA38-62BF-B4E5-F0AE-CC0503830B7D}"/>
              </a:ext>
            </a:extLst>
          </p:cNvPr>
          <p:cNvSpPr txBox="1"/>
          <p:nvPr/>
        </p:nvSpPr>
        <p:spPr>
          <a:xfrm>
            <a:off x="6363941" y="4396075"/>
            <a:ext cx="10740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67</a:t>
            </a:r>
          </a:p>
        </p:txBody>
      </p:sp>
      <p:sp>
        <p:nvSpPr>
          <p:cNvPr id="369" name="TextBox 368">
            <a:extLst>
              <a:ext uri="{FF2B5EF4-FFF2-40B4-BE49-F238E27FC236}">
                <a16:creationId xmlns:a16="http://schemas.microsoft.com/office/drawing/2014/main" id="{18A70321-D16D-898D-F90C-7ADA4306B13C}"/>
              </a:ext>
            </a:extLst>
          </p:cNvPr>
          <p:cNvSpPr txBox="1"/>
          <p:nvPr/>
        </p:nvSpPr>
        <p:spPr>
          <a:xfrm>
            <a:off x="6325556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53)</a:t>
            </a:r>
          </a:p>
        </p:txBody>
      </p:sp>
      <p:sp>
        <p:nvSpPr>
          <p:cNvPr id="370" name="TextBox 369">
            <a:extLst>
              <a:ext uri="{FF2B5EF4-FFF2-40B4-BE49-F238E27FC236}">
                <a16:creationId xmlns:a16="http://schemas.microsoft.com/office/drawing/2014/main" id="{5F278FF5-53EF-6ADB-6111-F7867A502441}"/>
              </a:ext>
            </a:extLst>
          </p:cNvPr>
          <p:cNvSpPr txBox="1"/>
          <p:nvPr/>
        </p:nvSpPr>
        <p:spPr>
          <a:xfrm>
            <a:off x="6585227" y="4396075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64</a:t>
            </a:r>
          </a:p>
        </p:txBody>
      </p:sp>
      <p:sp>
        <p:nvSpPr>
          <p:cNvPr id="371" name="TextBox 370">
            <a:extLst>
              <a:ext uri="{FF2B5EF4-FFF2-40B4-BE49-F238E27FC236}">
                <a16:creationId xmlns:a16="http://schemas.microsoft.com/office/drawing/2014/main" id="{0B4741FB-248D-B00E-FBCE-A2407DF27C48}"/>
              </a:ext>
            </a:extLst>
          </p:cNvPr>
          <p:cNvSpPr txBox="1"/>
          <p:nvPr/>
        </p:nvSpPr>
        <p:spPr>
          <a:xfrm>
            <a:off x="6546842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54)</a:t>
            </a:r>
          </a:p>
        </p:txBody>
      </p:sp>
      <p:sp>
        <p:nvSpPr>
          <p:cNvPr id="372" name="TextBox 371">
            <a:extLst>
              <a:ext uri="{FF2B5EF4-FFF2-40B4-BE49-F238E27FC236}">
                <a16:creationId xmlns:a16="http://schemas.microsoft.com/office/drawing/2014/main" id="{009F23B0-9F84-3177-2049-F8AB1E113ED8}"/>
              </a:ext>
            </a:extLst>
          </p:cNvPr>
          <p:cNvSpPr txBox="1"/>
          <p:nvPr/>
        </p:nvSpPr>
        <p:spPr>
          <a:xfrm>
            <a:off x="6813351" y="4396075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59</a:t>
            </a:r>
          </a:p>
        </p:txBody>
      </p:sp>
      <p:sp>
        <p:nvSpPr>
          <p:cNvPr id="373" name="TextBox 372">
            <a:extLst>
              <a:ext uri="{FF2B5EF4-FFF2-40B4-BE49-F238E27FC236}">
                <a16:creationId xmlns:a16="http://schemas.microsoft.com/office/drawing/2014/main" id="{50F70C24-F34E-7854-0FCF-A73DBE7491F2}"/>
              </a:ext>
            </a:extLst>
          </p:cNvPr>
          <p:cNvSpPr txBox="1"/>
          <p:nvPr/>
        </p:nvSpPr>
        <p:spPr>
          <a:xfrm>
            <a:off x="6774966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56)</a:t>
            </a:r>
          </a:p>
        </p:txBody>
      </p:sp>
      <p:sp>
        <p:nvSpPr>
          <p:cNvPr id="374" name="TextBox 373">
            <a:extLst>
              <a:ext uri="{FF2B5EF4-FFF2-40B4-BE49-F238E27FC236}">
                <a16:creationId xmlns:a16="http://schemas.microsoft.com/office/drawing/2014/main" id="{654E8FA4-D2D1-3005-EFC4-E9478CAECB25}"/>
              </a:ext>
            </a:extLst>
          </p:cNvPr>
          <p:cNvSpPr txBox="1"/>
          <p:nvPr/>
        </p:nvSpPr>
        <p:spPr>
          <a:xfrm>
            <a:off x="7043283" y="4396075"/>
            <a:ext cx="11862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50</a:t>
            </a:r>
          </a:p>
        </p:txBody>
      </p:sp>
      <p:sp>
        <p:nvSpPr>
          <p:cNvPr id="375" name="TextBox 374">
            <a:extLst>
              <a:ext uri="{FF2B5EF4-FFF2-40B4-BE49-F238E27FC236}">
                <a16:creationId xmlns:a16="http://schemas.microsoft.com/office/drawing/2014/main" id="{D2165EC1-171F-57CA-7B1B-707DAA2CCB82}"/>
              </a:ext>
            </a:extLst>
          </p:cNvPr>
          <p:cNvSpPr txBox="1"/>
          <p:nvPr/>
        </p:nvSpPr>
        <p:spPr>
          <a:xfrm>
            <a:off x="7004898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58)</a:t>
            </a:r>
          </a:p>
        </p:txBody>
      </p:sp>
      <p:sp>
        <p:nvSpPr>
          <p:cNvPr id="376" name="TextBox 375">
            <a:extLst>
              <a:ext uri="{FF2B5EF4-FFF2-40B4-BE49-F238E27FC236}">
                <a16:creationId xmlns:a16="http://schemas.microsoft.com/office/drawing/2014/main" id="{C1BCCD8B-210B-220F-E3E4-EE56C92B91FF}"/>
              </a:ext>
            </a:extLst>
          </p:cNvPr>
          <p:cNvSpPr txBox="1"/>
          <p:nvPr/>
        </p:nvSpPr>
        <p:spPr>
          <a:xfrm>
            <a:off x="7266694" y="4396075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45</a:t>
            </a:r>
          </a:p>
        </p:txBody>
      </p:sp>
      <p:sp>
        <p:nvSpPr>
          <p:cNvPr id="377" name="TextBox 376">
            <a:extLst>
              <a:ext uri="{FF2B5EF4-FFF2-40B4-BE49-F238E27FC236}">
                <a16:creationId xmlns:a16="http://schemas.microsoft.com/office/drawing/2014/main" id="{30610BDF-33C1-A68F-5956-B0C20B80FE95}"/>
              </a:ext>
            </a:extLst>
          </p:cNvPr>
          <p:cNvSpPr txBox="1"/>
          <p:nvPr/>
        </p:nvSpPr>
        <p:spPr>
          <a:xfrm>
            <a:off x="7228309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59)</a:t>
            </a:r>
          </a:p>
        </p:txBody>
      </p:sp>
      <p:sp>
        <p:nvSpPr>
          <p:cNvPr id="378" name="TextBox 377">
            <a:extLst>
              <a:ext uri="{FF2B5EF4-FFF2-40B4-BE49-F238E27FC236}">
                <a16:creationId xmlns:a16="http://schemas.microsoft.com/office/drawing/2014/main" id="{549F2B1C-6D62-7C32-BD0A-CB1E45BFD2A9}"/>
              </a:ext>
            </a:extLst>
          </p:cNvPr>
          <p:cNvSpPr txBox="1"/>
          <p:nvPr/>
        </p:nvSpPr>
        <p:spPr>
          <a:xfrm>
            <a:off x="7496624" y="4396075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38</a:t>
            </a:r>
          </a:p>
        </p:txBody>
      </p:sp>
      <p:sp>
        <p:nvSpPr>
          <p:cNvPr id="379" name="TextBox 378">
            <a:extLst>
              <a:ext uri="{FF2B5EF4-FFF2-40B4-BE49-F238E27FC236}">
                <a16:creationId xmlns:a16="http://schemas.microsoft.com/office/drawing/2014/main" id="{F1CFDCE9-7CD4-6485-5441-CAC768574FD8}"/>
              </a:ext>
            </a:extLst>
          </p:cNvPr>
          <p:cNvSpPr txBox="1"/>
          <p:nvPr/>
        </p:nvSpPr>
        <p:spPr>
          <a:xfrm>
            <a:off x="7458239" y="4521169"/>
            <a:ext cx="16030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1)</a:t>
            </a:r>
          </a:p>
        </p:txBody>
      </p:sp>
      <p:sp>
        <p:nvSpPr>
          <p:cNvPr id="380" name="TextBox 379">
            <a:extLst>
              <a:ext uri="{FF2B5EF4-FFF2-40B4-BE49-F238E27FC236}">
                <a16:creationId xmlns:a16="http://schemas.microsoft.com/office/drawing/2014/main" id="{40EA6A30-F614-B6D5-7910-4FFBFFC456A1}"/>
              </a:ext>
            </a:extLst>
          </p:cNvPr>
          <p:cNvSpPr txBox="1"/>
          <p:nvPr/>
        </p:nvSpPr>
        <p:spPr>
          <a:xfrm>
            <a:off x="7722240" y="4396075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36</a:t>
            </a:r>
          </a:p>
        </p:txBody>
      </p:sp>
      <p:sp>
        <p:nvSpPr>
          <p:cNvPr id="381" name="TextBox 380">
            <a:extLst>
              <a:ext uri="{FF2B5EF4-FFF2-40B4-BE49-F238E27FC236}">
                <a16:creationId xmlns:a16="http://schemas.microsoft.com/office/drawing/2014/main" id="{E5B79D88-938C-8A38-FB67-49B82A040EB0}"/>
              </a:ext>
            </a:extLst>
          </p:cNvPr>
          <p:cNvSpPr txBox="1"/>
          <p:nvPr/>
        </p:nvSpPr>
        <p:spPr>
          <a:xfrm>
            <a:off x="7683855" y="4521169"/>
            <a:ext cx="16030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1)</a:t>
            </a:r>
          </a:p>
        </p:txBody>
      </p:sp>
      <p:sp>
        <p:nvSpPr>
          <p:cNvPr id="382" name="TextBox 381">
            <a:extLst>
              <a:ext uri="{FF2B5EF4-FFF2-40B4-BE49-F238E27FC236}">
                <a16:creationId xmlns:a16="http://schemas.microsoft.com/office/drawing/2014/main" id="{649E259C-C9D8-4E52-DC11-D87CB7FA00D3}"/>
              </a:ext>
            </a:extLst>
          </p:cNvPr>
          <p:cNvSpPr txBox="1"/>
          <p:nvPr/>
        </p:nvSpPr>
        <p:spPr>
          <a:xfrm>
            <a:off x="7951993" y="4396075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28</a:t>
            </a:r>
          </a:p>
        </p:txBody>
      </p:sp>
      <p:sp>
        <p:nvSpPr>
          <p:cNvPr id="383" name="TextBox 382">
            <a:extLst>
              <a:ext uri="{FF2B5EF4-FFF2-40B4-BE49-F238E27FC236}">
                <a16:creationId xmlns:a16="http://schemas.microsoft.com/office/drawing/2014/main" id="{D508CD0F-C2DA-5E1B-33DD-6D1AE4ACF466}"/>
              </a:ext>
            </a:extLst>
          </p:cNvPr>
          <p:cNvSpPr txBox="1"/>
          <p:nvPr/>
        </p:nvSpPr>
        <p:spPr>
          <a:xfrm>
            <a:off x="7913608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384" name="TextBox 383">
            <a:extLst>
              <a:ext uri="{FF2B5EF4-FFF2-40B4-BE49-F238E27FC236}">
                <a16:creationId xmlns:a16="http://schemas.microsoft.com/office/drawing/2014/main" id="{E9615269-3AA2-C4F4-0A7E-4D780F2116C9}"/>
              </a:ext>
            </a:extLst>
          </p:cNvPr>
          <p:cNvSpPr txBox="1"/>
          <p:nvPr/>
        </p:nvSpPr>
        <p:spPr>
          <a:xfrm>
            <a:off x="8173814" y="4396075"/>
            <a:ext cx="11060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23</a:t>
            </a: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F8979B12-B22B-8331-706C-2EA435C2ACC6}"/>
              </a:ext>
            </a:extLst>
          </p:cNvPr>
          <p:cNvSpPr txBox="1"/>
          <p:nvPr/>
        </p:nvSpPr>
        <p:spPr>
          <a:xfrm>
            <a:off x="8135429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386" name="TextBox 385">
            <a:extLst>
              <a:ext uri="{FF2B5EF4-FFF2-40B4-BE49-F238E27FC236}">
                <a16:creationId xmlns:a16="http://schemas.microsoft.com/office/drawing/2014/main" id="{7D848896-2FAA-A7F5-FF23-9AE19A0AF91C}"/>
              </a:ext>
            </a:extLst>
          </p:cNvPr>
          <p:cNvSpPr txBox="1"/>
          <p:nvPr/>
        </p:nvSpPr>
        <p:spPr>
          <a:xfrm>
            <a:off x="8405450" y="4396075"/>
            <a:ext cx="8656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21</a:t>
            </a: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E3E9A78A-0B1F-330F-64C8-21AE409E167F}"/>
              </a:ext>
            </a:extLst>
          </p:cNvPr>
          <p:cNvSpPr txBox="1"/>
          <p:nvPr/>
        </p:nvSpPr>
        <p:spPr>
          <a:xfrm>
            <a:off x="8367065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388" name="TextBox 387">
            <a:extLst>
              <a:ext uri="{FF2B5EF4-FFF2-40B4-BE49-F238E27FC236}">
                <a16:creationId xmlns:a16="http://schemas.microsoft.com/office/drawing/2014/main" id="{35055EB3-2A7A-8D38-F247-E9205B5394AE}"/>
              </a:ext>
            </a:extLst>
          </p:cNvPr>
          <p:cNvSpPr txBox="1"/>
          <p:nvPr/>
        </p:nvSpPr>
        <p:spPr>
          <a:xfrm>
            <a:off x="8631487" y="4396075"/>
            <a:ext cx="8976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6</a:t>
            </a: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34E138A2-1AD3-2C60-36A4-1D919B3AABB5}"/>
              </a:ext>
            </a:extLst>
          </p:cNvPr>
          <p:cNvSpPr txBox="1"/>
          <p:nvPr/>
        </p:nvSpPr>
        <p:spPr>
          <a:xfrm>
            <a:off x="8593102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390" name="TextBox 389">
            <a:extLst>
              <a:ext uri="{FF2B5EF4-FFF2-40B4-BE49-F238E27FC236}">
                <a16:creationId xmlns:a16="http://schemas.microsoft.com/office/drawing/2014/main" id="{33297D3A-D371-9EE4-7E13-B959CF83C5F6}"/>
              </a:ext>
            </a:extLst>
          </p:cNvPr>
          <p:cNvSpPr txBox="1"/>
          <p:nvPr/>
        </p:nvSpPr>
        <p:spPr>
          <a:xfrm>
            <a:off x="8857254" y="4396075"/>
            <a:ext cx="8816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3</a:t>
            </a:r>
          </a:p>
        </p:txBody>
      </p:sp>
      <p:sp>
        <p:nvSpPr>
          <p:cNvPr id="391" name="TextBox 390">
            <a:extLst>
              <a:ext uri="{FF2B5EF4-FFF2-40B4-BE49-F238E27FC236}">
                <a16:creationId xmlns:a16="http://schemas.microsoft.com/office/drawing/2014/main" id="{AB0E0F1D-DE8B-3D86-DEA6-077C1BC81252}"/>
              </a:ext>
            </a:extLst>
          </p:cNvPr>
          <p:cNvSpPr txBox="1"/>
          <p:nvPr/>
        </p:nvSpPr>
        <p:spPr>
          <a:xfrm>
            <a:off x="8818869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392" name="TextBox 391">
            <a:extLst>
              <a:ext uri="{FF2B5EF4-FFF2-40B4-BE49-F238E27FC236}">
                <a16:creationId xmlns:a16="http://schemas.microsoft.com/office/drawing/2014/main" id="{1DA303C7-749F-BA97-4931-4BBBA3251370}"/>
              </a:ext>
            </a:extLst>
          </p:cNvPr>
          <p:cNvSpPr txBox="1"/>
          <p:nvPr/>
        </p:nvSpPr>
        <p:spPr>
          <a:xfrm>
            <a:off x="9116363" y="4396075"/>
            <a:ext cx="5770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8</a:t>
            </a:r>
          </a:p>
        </p:txBody>
      </p:sp>
      <p:sp>
        <p:nvSpPr>
          <p:cNvPr id="393" name="TextBox 392">
            <a:extLst>
              <a:ext uri="{FF2B5EF4-FFF2-40B4-BE49-F238E27FC236}">
                <a16:creationId xmlns:a16="http://schemas.microsoft.com/office/drawing/2014/main" id="{BFE62D18-D34E-9CDF-22C3-888DE8393E82}"/>
              </a:ext>
            </a:extLst>
          </p:cNvPr>
          <p:cNvSpPr txBox="1"/>
          <p:nvPr/>
        </p:nvSpPr>
        <p:spPr>
          <a:xfrm>
            <a:off x="9046664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394" name="TextBox 393">
            <a:extLst>
              <a:ext uri="{FF2B5EF4-FFF2-40B4-BE49-F238E27FC236}">
                <a16:creationId xmlns:a16="http://schemas.microsoft.com/office/drawing/2014/main" id="{812EA2F1-5676-5394-45E9-C5BF33FB8E9F}"/>
              </a:ext>
            </a:extLst>
          </p:cNvPr>
          <p:cNvSpPr txBox="1"/>
          <p:nvPr/>
        </p:nvSpPr>
        <p:spPr>
          <a:xfrm>
            <a:off x="9344498" y="4396075"/>
            <a:ext cx="5770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4</a:t>
            </a:r>
          </a:p>
        </p:txBody>
      </p:sp>
      <p:sp>
        <p:nvSpPr>
          <p:cNvPr id="395" name="TextBox 394">
            <a:extLst>
              <a:ext uri="{FF2B5EF4-FFF2-40B4-BE49-F238E27FC236}">
                <a16:creationId xmlns:a16="http://schemas.microsoft.com/office/drawing/2014/main" id="{80162501-A371-8424-4E87-F3BEAB6BA75E}"/>
              </a:ext>
            </a:extLst>
          </p:cNvPr>
          <p:cNvSpPr txBox="1"/>
          <p:nvPr/>
        </p:nvSpPr>
        <p:spPr>
          <a:xfrm>
            <a:off x="9274799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396" name="TextBox 395">
            <a:extLst>
              <a:ext uri="{FF2B5EF4-FFF2-40B4-BE49-F238E27FC236}">
                <a16:creationId xmlns:a16="http://schemas.microsoft.com/office/drawing/2014/main" id="{1F7C4139-BBDD-04FB-B2B8-E751DB4A4002}"/>
              </a:ext>
            </a:extLst>
          </p:cNvPr>
          <p:cNvSpPr txBox="1"/>
          <p:nvPr/>
        </p:nvSpPr>
        <p:spPr>
          <a:xfrm>
            <a:off x="9569496" y="4396075"/>
            <a:ext cx="5450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2</a:t>
            </a:r>
          </a:p>
        </p:txBody>
      </p:sp>
      <p:sp>
        <p:nvSpPr>
          <p:cNvPr id="397" name="TextBox 396">
            <a:extLst>
              <a:ext uri="{FF2B5EF4-FFF2-40B4-BE49-F238E27FC236}">
                <a16:creationId xmlns:a16="http://schemas.microsoft.com/office/drawing/2014/main" id="{60DE4DDC-5841-6AEF-4069-618EF51F6B1F}"/>
              </a:ext>
            </a:extLst>
          </p:cNvPr>
          <p:cNvSpPr txBox="1"/>
          <p:nvPr/>
        </p:nvSpPr>
        <p:spPr>
          <a:xfrm>
            <a:off x="9499797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398" name="TextBox 397">
            <a:extLst>
              <a:ext uri="{FF2B5EF4-FFF2-40B4-BE49-F238E27FC236}">
                <a16:creationId xmlns:a16="http://schemas.microsoft.com/office/drawing/2014/main" id="{F62C1811-7F20-D81B-D5E0-D7F6046C7E02}"/>
              </a:ext>
            </a:extLst>
          </p:cNvPr>
          <p:cNvSpPr txBox="1"/>
          <p:nvPr/>
        </p:nvSpPr>
        <p:spPr>
          <a:xfrm>
            <a:off x="9794123" y="4396075"/>
            <a:ext cx="3206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</a:t>
            </a:r>
          </a:p>
        </p:txBody>
      </p:sp>
      <p:sp>
        <p:nvSpPr>
          <p:cNvPr id="399" name="TextBox 398">
            <a:extLst>
              <a:ext uri="{FF2B5EF4-FFF2-40B4-BE49-F238E27FC236}">
                <a16:creationId xmlns:a16="http://schemas.microsoft.com/office/drawing/2014/main" id="{7FAB4062-B520-CAB2-B56B-7D8151B7A471}"/>
              </a:ext>
            </a:extLst>
          </p:cNvPr>
          <p:cNvSpPr txBox="1"/>
          <p:nvPr/>
        </p:nvSpPr>
        <p:spPr>
          <a:xfrm>
            <a:off x="9724425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id="{6BB29089-3297-46CB-8470-2E65EF991F3D}"/>
              </a:ext>
            </a:extLst>
          </p:cNvPr>
          <p:cNvSpPr txBox="1"/>
          <p:nvPr/>
        </p:nvSpPr>
        <p:spPr>
          <a:xfrm>
            <a:off x="10028238" y="4396075"/>
            <a:ext cx="625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401" name="TextBox 400">
            <a:extLst>
              <a:ext uri="{FF2B5EF4-FFF2-40B4-BE49-F238E27FC236}">
                <a16:creationId xmlns:a16="http://schemas.microsoft.com/office/drawing/2014/main" id="{D2136C56-9F16-336D-F327-BED4C4DB06AE}"/>
              </a:ext>
            </a:extLst>
          </p:cNvPr>
          <p:cNvSpPr txBox="1"/>
          <p:nvPr/>
        </p:nvSpPr>
        <p:spPr>
          <a:xfrm>
            <a:off x="9958540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402" name="TextBox 401">
            <a:extLst>
              <a:ext uri="{FF2B5EF4-FFF2-40B4-BE49-F238E27FC236}">
                <a16:creationId xmlns:a16="http://schemas.microsoft.com/office/drawing/2014/main" id="{43C1FDEB-D7B8-A0F5-4613-3A0846B6B554}"/>
              </a:ext>
            </a:extLst>
          </p:cNvPr>
          <p:cNvSpPr txBox="1"/>
          <p:nvPr/>
        </p:nvSpPr>
        <p:spPr>
          <a:xfrm>
            <a:off x="10257395" y="4396075"/>
            <a:ext cx="625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403" name="TextBox 402">
            <a:extLst>
              <a:ext uri="{FF2B5EF4-FFF2-40B4-BE49-F238E27FC236}">
                <a16:creationId xmlns:a16="http://schemas.microsoft.com/office/drawing/2014/main" id="{1367089D-7B96-98BB-2697-F1225AD3351C}"/>
              </a:ext>
            </a:extLst>
          </p:cNvPr>
          <p:cNvSpPr txBox="1"/>
          <p:nvPr/>
        </p:nvSpPr>
        <p:spPr>
          <a:xfrm>
            <a:off x="10187697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404" name="TextBox 403">
            <a:extLst>
              <a:ext uri="{FF2B5EF4-FFF2-40B4-BE49-F238E27FC236}">
                <a16:creationId xmlns:a16="http://schemas.microsoft.com/office/drawing/2014/main" id="{4123DD70-C146-E384-0E2D-A1E8619DABC3}"/>
              </a:ext>
            </a:extLst>
          </p:cNvPr>
          <p:cNvSpPr txBox="1"/>
          <p:nvPr/>
        </p:nvSpPr>
        <p:spPr>
          <a:xfrm>
            <a:off x="10479420" y="4396075"/>
            <a:ext cx="625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405" name="TextBox 404">
            <a:extLst>
              <a:ext uri="{FF2B5EF4-FFF2-40B4-BE49-F238E27FC236}">
                <a16:creationId xmlns:a16="http://schemas.microsoft.com/office/drawing/2014/main" id="{F156F04F-D75A-C400-B93E-A7BA7D736F30}"/>
              </a:ext>
            </a:extLst>
          </p:cNvPr>
          <p:cNvSpPr txBox="1"/>
          <p:nvPr/>
        </p:nvSpPr>
        <p:spPr>
          <a:xfrm>
            <a:off x="10409722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406" name="TextBox 405">
            <a:extLst>
              <a:ext uri="{FF2B5EF4-FFF2-40B4-BE49-F238E27FC236}">
                <a16:creationId xmlns:a16="http://schemas.microsoft.com/office/drawing/2014/main" id="{15206A47-A293-8403-8D4E-8AE4670A3E0F}"/>
              </a:ext>
            </a:extLst>
          </p:cNvPr>
          <p:cNvSpPr txBox="1"/>
          <p:nvPr/>
        </p:nvSpPr>
        <p:spPr>
          <a:xfrm>
            <a:off x="10705541" y="4396075"/>
            <a:ext cx="625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407" name="TextBox 406">
            <a:extLst>
              <a:ext uri="{FF2B5EF4-FFF2-40B4-BE49-F238E27FC236}">
                <a16:creationId xmlns:a16="http://schemas.microsoft.com/office/drawing/2014/main" id="{DC2BC290-6143-D846-727C-CE287478D0E1}"/>
              </a:ext>
            </a:extLst>
          </p:cNvPr>
          <p:cNvSpPr txBox="1"/>
          <p:nvPr/>
        </p:nvSpPr>
        <p:spPr>
          <a:xfrm>
            <a:off x="10635843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408" name="TextBox 407">
            <a:extLst>
              <a:ext uri="{FF2B5EF4-FFF2-40B4-BE49-F238E27FC236}">
                <a16:creationId xmlns:a16="http://schemas.microsoft.com/office/drawing/2014/main" id="{52A62EAF-4438-E864-13CE-7ECDC3DE88BE}"/>
              </a:ext>
            </a:extLst>
          </p:cNvPr>
          <p:cNvSpPr txBox="1"/>
          <p:nvPr/>
        </p:nvSpPr>
        <p:spPr>
          <a:xfrm>
            <a:off x="10934221" y="4396075"/>
            <a:ext cx="625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409" name="TextBox 408">
            <a:extLst>
              <a:ext uri="{FF2B5EF4-FFF2-40B4-BE49-F238E27FC236}">
                <a16:creationId xmlns:a16="http://schemas.microsoft.com/office/drawing/2014/main" id="{96714A45-7C33-E7A7-2577-129017C6B382}"/>
              </a:ext>
            </a:extLst>
          </p:cNvPr>
          <p:cNvSpPr txBox="1"/>
          <p:nvPr/>
        </p:nvSpPr>
        <p:spPr>
          <a:xfrm>
            <a:off x="10864522" y="4521169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410" name="TextBox 409">
            <a:extLst>
              <a:ext uri="{FF2B5EF4-FFF2-40B4-BE49-F238E27FC236}">
                <a16:creationId xmlns:a16="http://schemas.microsoft.com/office/drawing/2014/main" id="{FD5E9C17-02F0-2F67-9F1A-EF5E867BB153}"/>
              </a:ext>
            </a:extLst>
          </p:cNvPr>
          <p:cNvSpPr txBox="1"/>
          <p:nvPr/>
        </p:nvSpPr>
        <p:spPr>
          <a:xfrm>
            <a:off x="980698" y="4457684"/>
            <a:ext cx="19717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BPd</a:t>
            </a:r>
            <a:endParaRPr kumimoji="0" lang="en-US" sz="800" b="1" i="0" u="none" strike="noStrike" kern="1200" cap="none" spc="0" normalizeH="0" baseline="0" noProof="0">
              <a:ln/>
              <a:solidFill>
                <a:srgbClr val="00B8AD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  <a:rtl val="0"/>
            </a:endParaRPr>
          </a:p>
        </p:txBody>
      </p:sp>
      <p:sp>
        <p:nvSpPr>
          <p:cNvPr id="411" name="TextBox 410">
            <a:extLst>
              <a:ext uri="{FF2B5EF4-FFF2-40B4-BE49-F238E27FC236}">
                <a16:creationId xmlns:a16="http://schemas.microsoft.com/office/drawing/2014/main" id="{9D856EFB-A5FF-CEA4-6F3C-91C728256848}"/>
              </a:ext>
            </a:extLst>
          </p:cNvPr>
          <p:cNvSpPr txBox="1"/>
          <p:nvPr/>
        </p:nvSpPr>
        <p:spPr>
          <a:xfrm>
            <a:off x="2014843" y="4727472"/>
            <a:ext cx="13946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47</a:t>
            </a:r>
          </a:p>
        </p:txBody>
      </p:sp>
      <p:sp>
        <p:nvSpPr>
          <p:cNvPr id="412" name="TextBox 411">
            <a:extLst>
              <a:ext uri="{FF2B5EF4-FFF2-40B4-BE49-F238E27FC236}">
                <a16:creationId xmlns:a16="http://schemas.microsoft.com/office/drawing/2014/main" id="{5A8E9F42-FD90-F73B-67AB-3B59D91938B9}"/>
              </a:ext>
            </a:extLst>
          </p:cNvPr>
          <p:cNvSpPr txBox="1"/>
          <p:nvPr/>
        </p:nvSpPr>
        <p:spPr>
          <a:xfrm>
            <a:off x="2241020" y="4727472"/>
            <a:ext cx="14587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38</a:t>
            </a:r>
          </a:p>
        </p:txBody>
      </p:sp>
      <p:sp>
        <p:nvSpPr>
          <p:cNvPr id="413" name="TextBox 412">
            <a:extLst>
              <a:ext uri="{FF2B5EF4-FFF2-40B4-BE49-F238E27FC236}">
                <a16:creationId xmlns:a16="http://schemas.microsoft.com/office/drawing/2014/main" id="{1453DEEC-1E6F-C9FD-975E-0028789B3814}"/>
              </a:ext>
            </a:extLst>
          </p:cNvPr>
          <p:cNvSpPr txBox="1"/>
          <p:nvPr/>
        </p:nvSpPr>
        <p:spPr>
          <a:xfrm>
            <a:off x="2467151" y="4727472"/>
            <a:ext cx="14266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23</a:t>
            </a:r>
          </a:p>
        </p:txBody>
      </p:sp>
      <p:sp>
        <p:nvSpPr>
          <p:cNvPr id="414" name="TextBox 413">
            <a:extLst>
              <a:ext uri="{FF2B5EF4-FFF2-40B4-BE49-F238E27FC236}">
                <a16:creationId xmlns:a16="http://schemas.microsoft.com/office/drawing/2014/main" id="{EEBE7D66-9FB2-26A6-6327-A34D15231F03}"/>
              </a:ext>
            </a:extLst>
          </p:cNvPr>
          <p:cNvSpPr txBox="1"/>
          <p:nvPr/>
        </p:nvSpPr>
        <p:spPr>
          <a:xfrm>
            <a:off x="2697330" y="4727472"/>
            <a:ext cx="9618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11</a:t>
            </a:r>
          </a:p>
        </p:txBody>
      </p:sp>
      <p:sp>
        <p:nvSpPr>
          <p:cNvPr id="415" name="TextBox 414">
            <a:extLst>
              <a:ext uri="{FF2B5EF4-FFF2-40B4-BE49-F238E27FC236}">
                <a16:creationId xmlns:a16="http://schemas.microsoft.com/office/drawing/2014/main" id="{B0C1CDF0-958F-BE02-3FFE-78357D30AF49}"/>
              </a:ext>
            </a:extLst>
          </p:cNvPr>
          <p:cNvSpPr txBox="1"/>
          <p:nvPr/>
        </p:nvSpPr>
        <p:spPr>
          <a:xfrm>
            <a:off x="2923508" y="4727472"/>
            <a:ext cx="14908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02</a:t>
            </a:r>
          </a:p>
        </p:txBody>
      </p:sp>
      <p:sp>
        <p:nvSpPr>
          <p:cNvPr id="416" name="TextBox 415">
            <a:extLst>
              <a:ext uri="{FF2B5EF4-FFF2-40B4-BE49-F238E27FC236}">
                <a16:creationId xmlns:a16="http://schemas.microsoft.com/office/drawing/2014/main" id="{166EFEF7-DCD1-7121-F22B-05FFC022AE40}"/>
              </a:ext>
            </a:extLst>
          </p:cNvPr>
          <p:cNvSpPr txBox="1"/>
          <p:nvPr/>
        </p:nvSpPr>
        <p:spPr>
          <a:xfrm>
            <a:off x="3180999" y="4727472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96</a:t>
            </a:r>
          </a:p>
        </p:txBody>
      </p:sp>
      <p:sp>
        <p:nvSpPr>
          <p:cNvPr id="417" name="TextBox 416">
            <a:extLst>
              <a:ext uri="{FF2B5EF4-FFF2-40B4-BE49-F238E27FC236}">
                <a16:creationId xmlns:a16="http://schemas.microsoft.com/office/drawing/2014/main" id="{77005321-1CED-3540-1831-59613418DCD4}"/>
              </a:ext>
            </a:extLst>
          </p:cNvPr>
          <p:cNvSpPr txBox="1"/>
          <p:nvPr/>
        </p:nvSpPr>
        <p:spPr>
          <a:xfrm>
            <a:off x="3411178" y="4727472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92</a:t>
            </a:r>
          </a:p>
        </p:txBody>
      </p:sp>
      <p:sp>
        <p:nvSpPr>
          <p:cNvPr id="418" name="TextBox 417">
            <a:extLst>
              <a:ext uri="{FF2B5EF4-FFF2-40B4-BE49-F238E27FC236}">
                <a16:creationId xmlns:a16="http://schemas.microsoft.com/office/drawing/2014/main" id="{BBB7F2EE-0390-5289-EFAD-CD80AE197A85}"/>
              </a:ext>
            </a:extLst>
          </p:cNvPr>
          <p:cNvSpPr txBox="1"/>
          <p:nvPr/>
        </p:nvSpPr>
        <p:spPr>
          <a:xfrm>
            <a:off x="3642864" y="4727472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83</a:t>
            </a:r>
          </a:p>
        </p:txBody>
      </p:sp>
      <p:sp>
        <p:nvSpPr>
          <p:cNvPr id="419" name="TextBox 418">
            <a:extLst>
              <a:ext uri="{FF2B5EF4-FFF2-40B4-BE49-F238E27FC236}">
                <a16:creationId xmlns:a16="http://schemas.microsoft.com/office/drawing/2014/main" id="{F822B5F7-A265-5499-2224-66F2FCABA51D}"/>
              </a:ext>
            </a:extLst>
          </p:cNvPr>
          <p:cNvSpPr txBox="1"/>
          <p:nvPr/>
        </p:nvSpPr>
        <p:spPr>
          <a:xfrm>
            <a:off x="3863532" y="4727472"/>
            <a:ext cx="1057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75</a:t>
            </a:r>
          </a:p>
        </p:txBody>
      </p:sp>
      <p:sp>
        <p:nvSpPr>
          <p:cNvPr id="420" name="TextBox 419">
            <a:extLst>
              <a:ext uri="{FF2B5EF4-FFF2-40B4-BE49-F238E27FC236}">
                <a16:creationId xmlns:a16="http://schemas.microsoft.com/office/drawing/2014/main" id="{5AE2CD27-3CFD-16A2-29AD-1E926032636E}"/>
              </a:ext>
            </a:extLst>
          </p:cNvPr>
          <p:cNvSpPr txBox="1"/>
          <p:nvPr/>
        </p:nvSpPr>
        <p:spPr>
          <a:xfrm>
            <a:off x="4089710" y="4727472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68</a:t>
            </a:r>
          </a:p>
        </p:txBody>
      </p:sp>
      <p:sp>
        <p:nvSpPr>
          <p:cNvPr id="421" name="TextBox 420">
            <a:extLst>
              <a:ext uri="{FF2B5EF4-FFF2-40B4-BE49-F238E27FC236}">
                <a16:creationId xmlns:a16="http://schemas.microsoft.com/office/drawing/2014/main" id="{571E70BA-C700-E1E2-A14D-E42A1C6913F7}"/>
              </a:ext>
            </a:extLst>
          </p:cNvPr>
          <p:cNvSpPr txBox="1"/>
          <p:nvPr/>
        </p:nvSpPr>
        <p:spPr>
          <a:xfrm>
            <a:off x="4312565" y="4727472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59</a:t>
            </a:r>
          </a:p>
        </p:txBody>
      </p:sp>
      <p:sp>
        <p:nvSpPr>
          <p:cNvPr id="422" name="TextBox 421">
            <a:extLst>
              <a:ext uri="{FF2B5EF4-FFF2-40B4-BE49-F238E27FC236}">
                <a16:creationId xmlns:a16="http://schemas.microsoft.com/office/drawing/2014/main" id="{E0FF4969-1535-6390-1A4F-A076FAE7F816}"/>
              </a:ext>
            </a:extLst>
          </p:cNvPr>
          <p:cNvSpPr txBox="1"/>
          <p:nvPr/>
        </p:nvSpPr>
        <p:spPr>
          <a:xfrm>
            <a:off x="4544988" y="4727472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56</a:t>
            </a:r>
          </a:p>
        </p:txBody>
      </p:sp>
      <p:sp>
        <p:nvSpPr>
          <p:cNvPr id="423" name="TextBox 422">
            <a:extLst>
              <a:ext uri="{FF2B5EF4-FFF2-40B4-BE49-F238E27FC236}">
                <a16:creationId xmlns:a16="http://schemas.microsoft.com/office/drawing/2014/main" id="{D5C11992-3905-424F-8857-FB5F23AADD61}"/>
              </a:ext>
            </a:extLst>
          </p:cNvPr>
          <p:cNvSpPr txBox="1"/>
          <p:nvPr/>
        </p:nvSpPr>
        <p:spPr>
          <a:xfrm>
            <a:off x="4771194" y="4727472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54</a:t>
            </a:r>
          </a:p>
        </p:txBody>
      </p:sp>
      <p:sp>
        <p:nvSpPr>
          <p:cNvPr id="424" name="TextBox 423">
            <a:extLst>
              <a:ext uri="{FF2B5EF4-FFF2-40B4-BE49-F238E27FC236}">
                <a16:creationId xmlns:a16="http://schemas.microsoft.com/office/drawing/2014/main" id="{40C14A25-D2B8-E5AF-D0F2-1D30B5A48C65}"/>
              </a:ext>
            </a:extLst>
          </p:cNvPr>
          <p:cNvSpPr txBox="1"/>
          <p:nvPr/>
        </p:nvSpPr>
        <p:spPr>
          <a:xfrm>
            <a:off x="4997668" y="4727472"/>
            <a:ext cx="8816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51</a:t>
            </a:r>
          </a:p>
        </p:txBody>
      </p:sp>
      <p:sp>
        <p:nvSpPr>
          <p:cNvPr id="425" name="TextBox 424">
            <a:extLst>
              <a:ext uri="{FF2B5EF4-FFF2-40B4-BE49-F238E27FC236}">
                <a16:creationId xmlns:a16="http://schemas.microsoft.com/office/drawing/2014/main" id="{4756A9A1-AAEB-1E06-ADF1-5FCE702833FD}"/>
              </a:ext>
            </a:extLst>
          </p:cNvPr>
          <p:cNvSpPr txBox="1"/>
          <p:nvPr/>
        </p:nvSpPr>
        <p:spPr>
          <a:xfrm>
            <a:off x="5226780" y="4727472"/>
            <a:ext cx="10740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47</a:t>
            </a:r>
          </a:p>
        </p:txBody>
      </p:sp>
      <p:sp>
        <p:nvSpPr>
          <p:cNvPr id="426" name="TextBox 425">
            <a:extLst>
              <a:ext uri="{FF2B5EF4-FFF2-40B4-BE49-F238E27FC236}">
                <a16:creationId xmlns:a16="http://schemas.microsoft.com/office/drawing/2014/main" id="{74A55841-BB28-4ED4-8ECB-28EAB8B0E2E4}"/>
              </a:ext>
            </a:extLst>
          </p:cNvPr>
          <p:cNvSpPr txBox="1"/>
          <p:nvPr/>
        </p:nvSpPr>
        <p:spPr>
          <a:xfrm>
            <a:off x="5451855" y="4727472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43</a:t>
            </a:r>
          </a:p>
        </p:txBody>
      </p:sp>
      <p:sp>
        <p:nvSpPr>
          <p:cNvPr id="427" name="TextBox 426">
            <a:extLst>
              <a:ext uri="{FF2B5EF4-FFF2-40B4-BE49-F238E27FC236}">
                <a16:creationId xmlns:a16="http://schemas.microsoft.com/office/drawing/2014/main" id="{C256C64C-B2DB-D204-6291-1D19BFDBFD33}"/>
              </a:ext>
            </a:extLst>
          </p:cNvPr>
          <p:cNvSpPr txBox="1"/>
          <p:nvPr/>
        </p:nvSpPr>
        <p:spPr>
          <a:xfrm>
            <a:off x="5682967" y="4727472"/>
            <a:ext cx="12022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40</a:t>
            </a:r>
          </a:p>
        </p:txBody>
      </p:sp>
      <p:sp>
        <p:nvSpPr>
          <p:cNvPr id="428" name="TextBox 427">
            <a:extLst>
              <a:ext uri="{FF2B5EF4-FFF2-40B4-BE49-F238E27FC236}">
                <a16:creationId xmlns:a16="http://schemas.microsoft.com/office/drawing/2014/main" id="{1B72B66B-5ADA-2F17-E8DA-F504F71CF7FE}"/>
              </a:ext>
            </a:extLst>
          </p:cNvPr>
          <p:cNvSpPr txBox="1"/>
          <p:nvPr/>
        </p:nvSpPr>
        <p:spPr>
          <a:xfrm>
            <a:off x="5907298" y="4727472"/>
            <a:ext cx="11541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39</a:t>
            </a:r>
          </a:p>
        </p:txBody>
      </p:sp>
      <p:sp>
        <p:nvSpPr>
          <p:cNvPr id="429" name="TextBox 428">
            <a:extLst>
              <a:ext uri="{FF2B5EF4-FFF2-40B4-BE49-F238E27FC236}">
                <a16:creationId xmlns:a16="http://schemas.microsoft.com/office/drawing/2014/main" id="{46F48465-EB10-5B15-6AEE-72D3F70CC5DF}"/>
              </a:ext>
            </a:extLst>
          </p:cNvPr>
          <p:cNvSpPr txBox="1"/>
          <p:nvPr/>
        </p:nvSpPr>
        <p:spPr>
          <a:xfrm>
            <a:off x="6133720" y="4727472"/>
            <a:ext cx="1057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37</a:t>
            </a:r>
          </a:p>
        </p:txBody>
      </p:sp>
      <p:sp>
        <p:nvSpPr>
          <p:cNvPr id="430" name="TextBox 429">
            <a:extLst>
              <a:ext uri="{FF2B5EF4-FFF2-40B4-BE49-F238E27FC236}">
                <a16:creationId xmlns:a16="http://schemas.microsoft.com/office/drawing/2014/main" id="{6AF42F55-F05A-5560-0561-13B55336A1F0}"/>
              </a:ext>
            </a:extLst>
          </p:cNvPr>
          <p:cNvSpPr txBox="1"/>
          <p:nvPr/>
        </p:nvSpPr>
        <p:spPr>
          <a:xfrm>
            <a:off x="6363941" y="4727472"/>
            <a:ext cx="11862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30</a:t>
            </a:r>
          </a:p>
        </p:txBody>
      </p:sp>
      <p:sp>
        <p:nvSpPr>
          <p:cNvPr id="431" name="TextBox 430">
            <a:extLst>
              <a:ext uri="{FF2B5EF4-FFF2-40B4-BE49-F238E27FC236}">
                <a16:creationId xmlns:a16="http://schemas.microsoft.com/office/drawing/2014/main" id="{A6855A29-629F-458F-9A59-9684D635B26C}"/>
              </a:ext>
            </a:extLst>
          </p:cNvPr>
          <p:cNvSpPr txBox="1"/>
          <p:nvPr/>
        </p:nvSpPr>
        <p:spPr>
          <a:xfrm>
            <a:off x="6585227" y="4727472"/>
            <a:ext cx="11060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25</a:t>
            </a:r>
          </a:p>
        </p:txBody>
      </p:sp>
      <p:sp>
        <p:nvSpPr>
          <p:cNvPr id="432" name="TextBox 431">
            <a:extLst>
              <a:ext uri="{FF2B5EF4-FFF2-40B4-BE49-F238E27FC236}">
                <a16:creationId xmlns:a16="http://schemas.microsoft.com/office/drawing/2014/main" id="{3901C2E8-2124-6EF8-6BA8-1097A3E4381D}"/>
              </a:ext>
            </a:extLst>
          </p:cNvPr>
          <p:cNvSpPr txBox="1"/>
          <p:nvPr/>
        </p:nvSpPr>
        <p:spPr>
          <a:xfrm>
            <a:off x="6813351" y="4727472"/>
            <a:ext cx="10900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22</a:t>
            </a:r>
          </a:p>
        </p:txBody>
      </p:sp>
      <p:sp>
        <p:nvSpPr>
          <p:cNvPr id="433" name="TextBox 432">
            <a:extLst>
              <a:ext uri="{FF2B5EF4-FFF2-40B4-BE49-F238E27FC236}">
                <a16:creationId xmlns:a16="http://schemas.microsoft.com/office/drawing/2014/main" id="{D6C56FCB-1BA9-DEF3-50D0-6F47EEAF46AB}"/>
              </a:ext>
            </a:extLst>
          </p:cNvPr>
          <p:cNvSpPr txBox="1"/>
          <p:nvPr/>
        </p:nvSpPr>
        <p:spPr>
          <a:xfrm>
            <a:off x="7043283" y="4727472"/>
            <a:ext cx="10900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22</a:t>
            </a:r>
          </a:p>
        </p:txBody>
      </p:sp>
      <p:sp>
        <p:nvSpPr>
          <p:cNvPr id="434" name="TextBox 433">
            <a:extLst>
              <a:ext uri="{FF2B5EF4-FFF2-40B4-BE49-F238E27FC236}">
                <a16:creationId xmlns:a16="http://schemas.microsoft.com/office/drawing/2014/main" id="{F9ED5193-4349-1ADE-6F2F-43FCA1C9E593}"/>
              </a:ext>
            </a:extLst>
          </p:cNvPr>
          <p:cNvSpPr txBox="1"/>
          <p:nvPr/>
        </p:nvSpPr>
        <p:spPr>
          <a:xfrm>
            <a:off x="7266694" y="4727472"/>
            <a:ext cx="8976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9</a:t>
            </a:r>
          </a:p>
        </p:txBody>
      </p:sp>
      <p:sp>
        <p:nvSpPr>
          <p:cNvPr id="435" name="TextBox 434">
            <a:extLst>
              <a:ext uri="{FF2B5EF4-FFF2-40B4-BE49-F238E27FC236}">
                <a16:creationId xmlns:a16="http://schemas.microsoft.com/office/drawing/2014/main" id="{441CF129-9799-630F-715A-BD9151D49F57}"/>
              </a:ext>
            </a:extLst>
          </p:cNvPr>
          <p:cNvSpPr txBox="1"/>
          <p:nvPr/>
        </p:nvSpPr>
        <p:spPr>
          <a:xfrm>
            <a:off x="7496624" y="4727472"/>
            <a:ext cx="8976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8</a:t>
            </a:r>
          </a:p>
        </p:txBody>
      </p:sp>
      <p:sp>
        <p:nvSpPr>
          <p:cNvPr id="436" name="TextBox 435">
            <a:extLst>
              <a:ext uri="{FF2B5EF4-FFF2-40B4-BE49-F238E27FC236}">
                <a16:creationId xmlns:a16="http://schemas.microsoft.com/office/drawing/2014/main" id="{9F6346D8-A3A0-6427-F655-36BCEC1D5044}"/>
              </a:ext>
            </a:extLst>
          </p:cNvPr>
          <p:cNvSpPr txBox="1"/>
          <p:nvPr/>
        </p:nvSpPr>
        <p:spPr>
          <a:xfrm>
            <a:off x="7722240" y="4727472"/>
            <a:ext cx="8976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8</a:t>
            </a:r>
          </a:p>
        </p:txBody>
      </p:sp>
      <p:sp>
        <p:nvSpPr>
          <p:cNvPr id="437" name="TextBox 436">
            <a:extLst>
              <a:ext uri="{FF2B5EF4-FFF2-40B4-BE49-F238E27FC236}">
                <a16:creationId xmlns:a16="http://schemas.microsoft.com/office/drawing/2014/main" id="{33033C24-7A12-E739-36B7-A85347998A7C}"/>
              </a:ext>
            </a:extLst>
          </p:cNvPr>
          <p:cNvSpPr txBox="1"/>
          <p:nvPr/>
        </p:nvSpPr>
        <p:spPr>
          <a:xfrm>
            <a:off x="7951993" y="4727472"/>
            <a:ext cx="817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7</a:t>
            </a:r>
          </a:p>
        </p:txBody>
      </p:sp>
      <p:sp>
        <p:nvSpPr>
          <p:cNvPr id="438" name="TextBox 437">
            <a:extLst>
              <a:ext uri="{FF2B5EF4-FFF2-40B4-BE49-F238E27FC236}">
                <a16:creationId xmlns:a16="http://schemas.microsoft.com/office/drawing/2014/main" id="{C9118E5A-2D03-6526-360F-4F5414BB688D}"/>
              </a:ext>
            </a:extLst>
          </p:cNvPr>
          <p:cNvSpPr txBox="1"/>
          <p:nvPr/>
        </p:nvSpPr>
        <p:spPr>
          <a:xfrm>
            <a:off x="8173814" y="4727472"/>
            <a:ext cx="8816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3</a:t>
            </a:r>
          </a:p>
        </p:txBody>
      </p:sp>
      <p:sp>
        <p:nvSpPr>
          <p:cNvPr id="439" name="TextBox 438">
            <a:extLst>
              <a:ext uri="{FF2B5EF4-FFF2-40B4-BE49-F238E27FC236}">
                <a16:creationId xmlns:a16="http://schemas.microsoft.com/office/drawing/2014/main" id="{BFCE5BA4-BB8A-2007-5396-5BF68F9BAEDF}"/>
              </a:ext>
            </a:extLst>
          </p:cNvPr>
          <p:cNvSpPr txBox="1"/>
          <p:nvPr/>
        </p:nvSpPr>
        <p:spPr>
          <a:xfrm>
            <a:off x="8405450" y="4727472"/>
            <a:ext cx="6412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1</a:t>
            </a:r>
          </a:p>
        </p:txBody>
      </p:sp>
      <p:sp>
        <p:nvSpPr>
          <p:cNvPr id="440" name="TextBox 439">
            <a:extLst>
              <a:ext uri="{FF2B5EF4-FFF2-40B4-BE49-F238E27FC236}">
                <a16:creationId xmlns:a16="http://schemas.microsoft.com/office/drawing/2014/main" id="{53593E66-602E-6347-B30A-DB618BD8E79A}"/>
              </a:ext>
            </a:extLst>
          </p:cNvPr>
          <p:cNvSpPr txBox="1"/>
          <p:nvPr/>
        </p:nvSpPr>
        <p:spPr>
          <a:xfrm>
            <a:off x="8662800" y="4727472"/>
            <a:ext cx="4969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7</a:t>
            </a:r>
          </a:p>
        </p:txBody>
      </p:sp>
      <p:sp>
        <p:nvSpPr>
          <p:cNvPr id="441" name="TextBox 440">
            <a:extLst>
              <a:ext uri="{FF2B5EF4-FFF2-40B4-BE49-F238E27FC236}">
                <a16:creationId xmlns:a16="http://schemas.microsoft.com/office/drawing/2014/main" id="{82049694-17D3-36A9-C559-8B0C9BF2F77D}"/>
              </a:ext>
            </a:extLst>
          </p:cNvPr>
          <p:cNvSpPr txBox="1"/>
          <p:nvPr/>
        </p:nvSpPr>
        <p:spPr>
          <a:xfrm>
            <a:off x="8888567" y="4727472"/>
            <a:ext cx="5770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5</a:t>
            </a:r>
          </a:p>
        </p:txBody>
      </p:sp>
      <p:sp>
        <p:nvSpPr>
          <p:cNvPr id="442" name="TextBox 441">
            <a:extLst>
              <a:ext uri="{FF2B5EF4-FFF2-40B4-BE49-F238E27FC236}">
                <a16:creationId xmlns:a16="http://schemas.microsoft.com/office/drawing/2014/main" id="{B45EE929-8340-37CA-8131-0252E70AB207}"/>
              </a:ext>
            </a:extLst>
          </p:cNvPr>
          <p:cNvSpPr txBox="1"/>
          <p:nvPr/>
        </p:nvSpPr>
        <p:spPr>
          <a:xfrm>
            <a:off x="9116363" y="4727472"/>
            <a:ext cx="5770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4</a:t>
            </a:r>
          </a:p>
        </p:txBody>
      </p:sp>
      <p:sp>
        <p:nvSpPr>
          <p:cNvPr id="443" name="TextBox 442">
            <a:extLst>
              <a:ext uri="{FF2B5EF4-FFF2-40B4-BE49-F238E27FC236}">
                <a16:creationId xmlns:a16="http://schemas.microsoft.com/office/drawing/2014/main" id="{1D7BD268-01BA-E5BC-0CBF-8D9F03F808F2}"/>
              </a:ext>
            </a:extLst>
          </p:cNvPr>
          <p:cNvSpPr txBox="1"/>
          <p:nvPr/>
        </p:nvSpPr>
        <p:spPr>
          <a:xfrm>
            <a:off x="9344498" y="4727472"/>
            <a:ext cx="5770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3</a:t>
            </a:r>
          </a:p>
        </p:txBody>
      </p:sp>
      <p:sp>
        <p:nvSpPr>
          <p:cNvPr id="444" name="TextBox 443">
            <a:extLst>
              <a:ext uri="{FF2B5EF4-FFF2-40B4-BE49-F238E27FC236}">
                <a16:creationId xmlns:a16="http://schemas.microsoft.com/office/drawing/2014/main" id="{A514F74D-A16F-390D-81DB-4244A551F9DD}"/>
              </a:ext>
            </a:extLst>
          </p:cNvPr>
          <p:cNvSpPr txBox="1"/>
          <p:nvPr/>
        </p:nvSpPr>
        <p:spPr>
          <a:xfrm>
            <a:off x="9569496" y="4727472"/>
            <a:ext cx="5450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2</a:t>
            </a:r>
          </a:p>
        </p:txBody>
      </p:sp>
      <p:sp>
        <p:nvSpPr>
          <p:cNvPr id="445" name="TextBox 444">
            <a:extLst>
              <a:ext uri="{FF2B5EF4-FFF2-40B4-BE49-F238E27FC236}">
                <a16:creationId xmlns:a16="http://schemas.microsoft.com/office/drawing/2014/main" id="{14F35687-F0BE-978D-104D-91D46DD6152A}"/>
              </a:ext>
            </a:extLst>
          </p:cNvPr>
          <p:cNvSpPr txBox="1"/>
          <p:nvPr/>
        </p:nvSpPr>
        <p:spPr>
          <a:xfrm>
            <a:off x="9794123" y="4727472"/>
            <a:ext cx="5450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2</a:t>
            </a:r>
          </a:p>
        </p:txBody>
      </p:sp>
      <p:sp>
        <p:nvSpPr>
          <p:cNvPr id="446" name="TextBox 445">
            <a:extLst>
              <a:ext uri="{FF2B5EF4-FFF2-40B4-BE49-F238E27FC236}">
                <a16:creationId xmlns:a16="http://schemas.microsoft.com/office/drawing/2014/main" id="{9A55CD02-A4FC-C8BE-1477-8BD50511EA28}"/>
              </a:ext>
            </a:extLst>
          </p:cNvPr>
          <p:cNvSpPr txBox="1"/>
          <p:nvPr/>
        </p:nvSpPr>
        <p:spPr>
          <a:xfrm>
            <a:off x="10028238" y="4727472"/>
            <a:ext cx="3206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</a:t>
            </a:r>
          </a:p>
        </p:txBody>
      </p:sp>
      <p:sp>
        <p:nvSpPr>
          <p:cNvPr id="447" name="TextBox 446">
            <a:extLst>
              <a:ext uri="{FF2B5EF4-FFF2-40B4-BE49-F238E27FC236}">
                <a16:creationId xmlns:a16="http://schemas.microsoft.com/office/drawing/2014/main" id="{02082708-B8C1-217E-83E2-7ABAFF3F552E}"/>
              </a:ext>
            </a:extLst>
          </p:cNvPr>
          <p:cNvSpPr txBox="1"/>
          <p:nvPr/>
        </p:nvSpPr>
        <p:spPr>
          <a:xfrm>
            <a:off x="10257395" y="4727472"/>
            <a:ext cx="3206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</a:t>
            </a:r>
          </a:p>
        </p:txBody>
      </p:sp>
      <p:sp>
        <p:nvSpPr>
          <p:cNvPr id="448" name="TextBox 447">
            <a:extLst>
              <a:ext uri="{FF2B5EF4-FFF2-40B4-BE49-F238E27FC236}">
                <a16:creationId xmlns:a16="http://schemas.microsoft.com/office/drawing/2014/main" id="{23C05796-1E40-4358-FC7A-46A50E69545C}"/>
              </a:ext>
            </a:extLst>
          </p:cNvPr>
          <p:cNvSpPr txBox="1"/>
          <p:nvPr/>
        </p:nvSpPr>
        <p:spPr>
          <a:xfrm>
            <a:off x="10479420" y="4727472"/>
            <a:ext cx="3206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</a:t>
            </a:r>
          </a:p>
        </p:txBody>
      </p:sp>
      <p:sp>
        <p:nvSpPr>
          <p:cNvPr id="449" name="TextBox 448">
            <a:extLst>
              <a:ext uri="{FF2B5EF4-FFF2-40B4-BE49-F238E27FC236}">
                <a16:creationId xmlns:a16="http://schemas.microsoft.com/office/drawing/2014/main" id="{14DE4321-02E6-A2BD-9D36-BD5112D9EA45}"/>
              </a:ext>
            </a:extLst>
          </p:cNvPr>
          <p:cNvSpPr txBox="1"/>
          <p:nvPr/>
        </p:nvSpPr>
        <p:spPr>
          <a:xfrm>
            <a:off x="10705541" y="4727472"/>
            <a:ext cx="3206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1</a:t>
            </a:r>
          </a:p>
        </p:txBody>
      </p:sp>
      <p:sp>
        <p:nvSpPr>
          <p:cNvPr id="450" name="TextBox 449">
            <a:extLst>
              <a:ext uri="{FF2B5EF4-FFF2-40B4-BE49-F238E27FC236}">
                <a16:creationId xmlns:a16="http://schemas.microsoft.com/office/drawing/2014/main" id="{7B4D9571-CD88-9FF8-1414-A6E8F53FC106}"/>
              </a:ext>
            </a:extLst>
          </p:cNvPr>
          <p:cNvSpPr txBox="1"/>
          <p:nvPr/>
        </p:nvSpPr>
        <p:spPr>
          <a:xfrm>
            <a:off x="10934221" y="4727472"/>
            <a:ext cx="625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451" name="TextBox 450">
            <a:extLst>
              <a:ext uri="{FF2B5EF4-FFF2-40B4-BE49-F238E27FC236}">
                <a16:creationId xmlns:a16="http://schemas.microsoft.com/office/drawing/2014/main" id="{8240850B-52FE-5D03-7EE1-15352904E57E}"/>
              </a:ext>
            </a:extLst>
          </p:cNvPr>
          <p:cNvSpPr txBox="1"/>
          <p:nvPr/>
        </p:nvSpPr>
        <p:spPr>
          <a:xfrm>
            <a:off x="2039086" y="4852565"/>
            <a:ext cx="13305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0)</a:t>
            </a:r>
          </a:p>
        </p:txBody>
      </p:sp>
      <p:sp>
        <p:nvSpPr>
          <p:cNvPr id="452" name="TextBox 451">
            <a:extLst>
              <a:ext uri="{FF2B5EF4-FFF2-40B4-BE49-F238E27FC236}">
                <a16:creationId xmlns:a16="http://schemas.microsoft.com/office/drawing/2014/main" id="{F0FCC96F-63A9-2684-54BE-F14E338CADF5}"/>
              </a:ext>
            </a:extLst>
          </p:cNvPr>
          <p:cNvSpPr txBox="1"/>
          <p:nvPr/>
        </p:nvSpPr>
        <p:spPr>
          <a:xfrm>
            <a:off x="2265263" y="4852565"/>
            <a:ext cx="12824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4)</a:t>
            </a:r>
          </a:p>
        </p:txBody>
      </p:sp>
      <p:sp>
        <p:nvSpPr>
          <p:cNvPr id="453" name="TextBox 452">
            <a:extLst>
              <a:ext uri="{FF2B5EF4-FFF2-40B4-BE49-F238E27FC236}">
                <a16:creationId xmlns:a16="http://schemas.microsoft.com/office/drawing/2014/main" id="{F325F08A-68D5-82F2-5BC4-36F58AA4FCE9}"/>
              </a:ext>
            </a:extLst>
          </p:cNvPr>
          <p:cNvSpPr txBox="1"/>
          <p:nvPr/>
        </p:nvSpPr>
        <p:spPr>
          <a:xfrm>
            <a:off x="2460081" y="4852565"/>
            <a:ext cx="16030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14)</a:t>
            </a:r>
          </a:p>
        </p:txBody>
      </p:sp>
      <p:sp>
        <p:nvSpPr>
          <p:cNvPr id="454" name="TextBox 453">
            <a:extLst>
              <a:ext uri="{FF2B5EF4-FFF2-40B4-BE49-F238E27FC236}">
                <a16:creationId xmlns:a16="http://schemas.microsoft.com/office/drawing/2014/main" id="{9B26BE08-5BC1-3F12-5C02-2AC438D48847}"/>
              </a:ext>
            </a:extLst>
          </p:cNvPr>
          <p:cNvSpPr txBox="1"/>
          <p:nvPr/>
        </p:nvSpPr>
        <p:spPr>
          <a:xfrm>
            <a:off x="2690260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23)</a:t>
            </a:r>
          </a:p>
        </p:txBody>
      </p:sp>
      <p:sp>
        <p:nvSpPr>
          <p:cNvPr id="455" name="TextBox 454">
            <a:extLst>
              <a:ext uri="{FF2B5EF4-FFF2-40B4-BE49-F238E27FC236}">
                <a16:creationId xmlns:a16="http://schemas.microsoft.com/office/drawing/2014/main" id="{0081E2E3-B172-441A-2DFF-5713D619378A}"/>
              </a:ext>
            </a:extLst>
          </p:cNvPr>
          <p:cNvSpPr txBox="1"/>
          <p:nvPr/>
        </p:nvSpPr>
        <p:spPr>
          <a:xfrm>
            <a:off x="2916438" y="4852565"/>
            <a:ext cx="17472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27)</a:t>
            </a:r>
          </a:p>
        </p:txBody>
      </p:sp>
      <p:sp>
        <p:nvSpPr>
          <p:cNvPr id="456" name="TextBox 455">
            <a:extLst>
              <a:ext uri="{FF2B5EF4-FFF2-40B4-BE49-F238E27FC236}">
                <a16:creationId xmlns:a16="http://schemas.microsoft.com/office/drawing/2014/main" id="{ECCBF38D-8160-D72D-A4C8-AF864E1FE18F}"/>
              </a:ext>
            </a:extLst>
          </p:cNvPr>
          <p:cNvSpPr txBox="1"/>
          <p:nvPr/>
        </p:nvSpPr>
        <p:spPr>
          <a:xfrm>
            <a:off x="3142614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33)</a:t>
            </a:r>
          </a:p>
        </p:txBody>
      </p:sp>
      <p:sp>
        <p:nvSpPr>
          <p:cNvPr id="457" name="TextBox 456">
            <a:extLst>
              <a:ext uri="{FF2B5EF4-FFF2-40B4-BE49-F238E27FC236}">
                <a16:creationId xmlns:a16="http://schemas.microsoft.com/office/drawing/2014/main" id="{18B9ADA7-384E-B3FC-3F74-BBE6AB997ED4}"/>
              </a:ext>
            </a:extLst>
          </p:cNvPr>
          <p:cNvSpPr txBox="1"/>
          <p:nvPr/>
        </p:nvSpPr>
        <p:spPr>
          <a:xfrm>
            <a:off x="3372793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37)</a:t>
            </a:r>
          </a:p>
        </p:txBody>
      </p:sp>
      <p:sp>
        <p:nvSpPr>
          <p:cNvPr id="458" name="TextBox 457">
            <a:extLst>
              <a:ext uri="{FF2B5EF4-FFF2-40B4-BE49-F238E27FC236}">
                <a16:creationId xmlns:a16="http://schemas.microsoft.com/office/drawing/2014/main" id="{460949CA-00EF-A0C3-A832-8142611741C1}"/>
              </a:ext>
            </a:extLst>
          </p:cNvPr>
          <p:cNvSpPr txBox="1"/>
          <p:nvPr/>
        </p:nvSpPr>
        <p:spPr>
          <a:xfrm>
            <a:off x="3609201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45)</a:t>
            </a:r>
          </a:p>
        </p:txBody>
      </p:sp>
      <p:sp>
        <p:nvSpPr>
          <p:cNvPr id="459" name="TextBox 458">
            <a:extLst>
              <a:ext uri="{FF2B5EF4-FFF2-40B4-BE49-F238E27FC236}">
                <a16:creationId xmlns:a16="http://schemas.microsoft.com/office/drawing/2014/main" id="{836ED244-B897-AF0A-A8BF-EB204C158485}"/>
              </a:ext>
            </a:extLst>
          </p:cNvPr>
          <p:cNvSpPr txBox="1"/>
          <p:nvPr/>
        </p:nvSpPr>
        <p:spPr>
          <a:xfrm>
            <a:off x="3825147" y="4852565"/>
            <a:ext cx="18594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49)</a:t>
            </a:r>
          </a:p>
        </p:txBody>
      </p:sp>
      <p:sp>
        <p:nvSpPr>
          <p:cNvPr id="460" name="TextBox 459">
            <a:extLst>
              <a:ext uri="{FF2B5EF4-FFF2-40B4-BE49-F238E27FC236}">
                <a16:creationId xmlns:a16="http://schemas.microsoft.com/office/drawing/2014/main" id="{4A5EA1CE-3A8D-B907-8437-BB484E182CAC}"/>
              </a:ext>
            </a:extLst>
          </p:cNvPr>
          <p:cNvSpPr txBox="1"/>
          <p:nvPr/>
        </p:nvSpPr>
        <p:spPr>
          <a:xfrm>
            <a:off x="4051325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52)</a:t>
            </a:r>
          </a:p>
        </p:txBody>
      </p:sp>
      <p:sp>
        <p:nvSpPr>
          <p:cNvPr id="461" name="TextBox 460">
            <a:extLst>
              <a:ext uri="{FF2B5EF4-FFF2-40B4-BE49-F238E27FC236}">
                <a16:creationId xmlns:a16="http://schemas.microsoft.com/office/drawing/2014/main" id="{30904CC4-3686-7FF9-790F-B85E2C7D5D4E}"/>
              </a:ext>
            </a:extLst>
          </p:cNvPr>
          <p:cNvSpPr txBox="1"/>
          <p:nvPr/>
        </p:nvSpPr>
        <p:spPr>
          <a:xfrm>
            <a:off x="4274180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59)</a:t>
            </a:r>
          </a:p>
        </p:txBody>
      </p:sp>
      <p:sp>
        <p:nvSpPr>
          <p:cNvPr id="462" name="TextBox 461">
            <a:extLst>
              <a:ext uri="{FF2B5EF4-FFF2-40B4-BE49-F238E27FC236}">
                <a16:creationId xmlns:a16="http://schemas.microsoft.com/office/drawing/2014/main" id="{FE2B873A-3CCC-B842-4619-6FC994A02CA1}"/>
              </a:ext>
            </a:extLst>
          </p:cNvPr>
          <p:cNvSpPr txBox="1"/>
          <p:nvPr/>
        </p:nvSpPr>
        <p:spPr>
          <a:xfrm>
            <a:off x="4506603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463" name="TextBox 462">
            <a:extLst>
              <a:ext uri="{FF2B5EF4-FFF2-40B4-BE49-F238E27FC236}">
                <a16:creationId xmlns:a16="http://schemas.microsoft.com/office/drawing/2014/main" id="{858AFE55-5989-1BE8-2D37-208320F28E68}"/>
              </a:ext>
            </a:extLst>
          </p:cNvPr>
          <p:cNvSpPr txBox="1"/>
          <p:nvPr/>
        </p:nvSpPr>
        <p:spPr>
          <a:xfrm>
            <a:off x="4732809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2)</a:t>
            </a:r>
          </a:p>
        </p:txBody>
      </p:sp>
      <p:sp>
        <p:nvSpPr>
          <p:cNvPr id="464" name="TextBox 463">
            <a:extLst>
              <a:ext uri="{FF2B5EF4-FFF2-40B4-BE49-F238E27FC236}">
                <a16:creationId xmlns:a16="http://schemas.microsoft.com/office/drawing/2014/main" id="{D9FA9953-7464-683B-29E2-2C7D98CAAFBC}"/>
              </a:ext>
            </a:extLst>
          </p:cNvPr>
          <p:cNvSpPr txBox="1"/>
          <p:nvPr/>
        </p:nvSpPr>
        <p:spPr>
          <a:xfrm>
            <a:off x="4959283" y="4852565"/>
            <a:ext cx="18594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4)</a:t>
            </a:r>
          </a:p>
        </p:txBody>
      </p:sp>
      <p:sp>
        <p:nvSpPr>
          <p:cNvPr id="465" name="TextBox 464">
            <a:extLst>
              <a:ext uri="{FF2B5EF4-FFF2-40B4-BE49-F238E27FC236}">
                <a16:creationId xmlns:a16="http://schemas.microsoft.com/office/drawing/2014/main" id="{E67CC15B-56A2-66AF-6566-463FE7387B3D}"/>
              </a:ext>
            </a:extLst>
          </p:cNvPr>
          <p:cNvSpPr txBox="1"/>
          <p:nvPr/>
        </p:nvSpPr>
        <p:spPr>
          <a:xfrm>
            <a:off x="5188395" y="4852565"/>
            <a:ext cx="18594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6)</a:t>
            </a:r>
          </a:p>
        </p:txBody>
      </p:sp>
      <p:sp>
        <p:nvSpPr>
          <p:cNvPr id="466" name="TextBox 465">
            <a:extLst>
              <a:ext uri="{FF2B5EF4-FFF2-40B4-BE49-F238E27FC236}">
                <a16:creationId xmlns:a16="http://schemas.microsoft.com/office/drawing/2014/main" id="{6CAA3553-E53B-CFFA-F1FB-41E339EB4E40}"/>
              </a:ext>
            </a:extLst>
          </p:cNvPr>
          <p:cNvSpPr txBox="1"/>
          <p:nvPr/>
        </p:nvSpPr>
        <p:spPr>
          <a:xfrm>
            <a:off x="5413470" y="4852565"/>
            <a:ext cx="18594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8)</a:t>
            </a:r>
          </a:p>
        </p:txBody>
      </p:sp>
      <p:sp>
        <p:nvSpPr>
          <p:cNvPr id="467" name="TextBox 466">
            <a:extLst>
              <a:ext uri="{FF2B5EF4-FFF2-40B4-BE49-F238E27FC236}">
                <a16:creationId xmlns:a16="http://schemas.microsoft.com/office/drawing/2014/main" id="{CD38E599-CEBC-142D-432F-96C727984DB6}"/>
              </a:ext>
            </a:extLst>
          </p:cNvPr>
          <p:cNvSpPr txBox="1"/>
          <p:nvPr/>
        </p:nvSpPr>
        <p:spPr>
          <a:xfrm>
            <a:off x="5644581" y="4852565"/>
            <a:ext cx="18594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8)</a:t>
            </a:r>
          </a:p>
        </p:txBody>
      </p:sp>
      <p:sp>
        <p:nvSpPr>
          <p:cNvPr id="468" name="TextBox 467">
            <a:extLst>
              <a:ext uri="{FF2B5EF4-FFF2-40B4-BE49-F238E27FC236}">
                <a16:creationId xmlns:a16="http://schemas.microsoft.com/office/drawing/2014/main" id="{880165E6-F697-2A61-C322-63C5A2DA4D57}"/>
              </a:ext>
            </a:extLst>
          </p:cNvPr>
          <p:cNvSpPr txBox="1"/>
          <p:nvPr/>
        </p:nvSpPr>
        <p:spPr>
          <a:xfrm>
            <a:off x="5868913" y="4852565"/>
            <a:ext cx="18594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68)</a:t>
            </a:r>
          </a:p>
        </p:txBody>
      </p:sp>
      <p:sp>
        <p:nvSpPr>
          <p:cNvPr id="469" name="TextBox 468">
            <a:extLst>
              <a:ext uri="{FF2B5EF4-FFF2-40B4-BE49-F238E27FC236}">
                <a16:creationId xmlns:a16="http://schemas.microsoft.com/office/drawing/2014/main" id="{2426DA34-9F90-2484-843C-6A54ECA7154D}"/>
              </a:ext>
            </a:extLst>
          </p:cNvPr>
          <p:cNvSpPr txBox="1"/>
          <p:nvPr/>
        </p:nvSpPr>
        <p:spPr>
          <a:xfrm>
            <a:off x="6095335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0)</a:t>
            </a:r>
          </a:p>
        </p:txBody>
      </p:sp>
      <p:sp>
        <p:nvSpPr>
          <p:cNvPr id="470" name="TextBox 469">
            <a:extLst>
              <a:ext uri="{FF2B5EF4-FFF2-40B4-BE49-F238E27FC236}">
                <a16:creationId xmlns:a16="http://schemas.microsoft.com/office/drawing/2014/main" id="{02EDA896-0268-FE09-BB6A-3B5A6C63E8FE}"/>
              </a:ext>
            </a:extLst>
          </p:cNvPr>
          <p:cNvSpPr txBox="1"/>
          <p:nvPr/>
        </p:nvSpPr>
        <p:spPr>
          <a:xfrm>
            <a:off x="6325556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3)</a:t>
            </a:r>
          </a:p>
        </p:txBody>
      </p:sp>
      <p:sp>
        <p:nvSpPr>
          <p:cNvPr id="471" name="TextBox 470">
            <a:extLst>
              <a:ext uri="{FF2B5EF4-FFF2-40B4-BE49-F238E27FC236}">
                <a16:creationId xmlns:a16="http://schemas.microsoft.com/office/drawing/2014/main" id="{90BF9E7E-79D1-0AC4-0B98-EAE70702AF7A}"/>
              </a:ext>
            </a:extLst>
          </p:cNvPr>
          <p:cNvSpPr txBox="1"/>
          <p:nvPr/>
        </p:nvSpPr>
        <p:spPr>
          <a:xfrm>
            <a:off x="6546842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6)</a:t>
            </a:r>
          </a:p>
        </p:txBody>
      </p:sp>
      <p:sp>
        <p:nvSpPr>
          <p:cNvPr id="472" name="TextBox 471">
            <a:extLst>
              <a:ext uri="{FF2B5EF4-FFF2-40B4-BE49-F238E27FC236}">
                <a16:creationId xmlns:a16="http://schemas.microsoft.com/office/drawing/2014/main" id="{32DE50A9-EFFE-E155-9A1A-BF74BA70335E}"/>
              </a:ext>
            </a:extLst>
          </p:cNvPr>
          <p:cNvSpPr txBox="1"/>
          <p:nvPr/>
        </p:nvSpPr>
        <p:spPr>
          <a:xfrm>
            <a:off x="6774966" y="4852565"/>
            <a:ext cx="1699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7)</a:t>
            </a:r>
          </a:p>
        </p:txBody>
      </p:sp>
      <p:sp>
        <p:nvSpPr>
          <p:cNvPr id="473" name="TextBox 472">
            <a:extLst>
              <a:ext uri="{FF2B5EF4-FFF2-40B4-BE49-F238E27FC236}">
                <a16:creationId xmlns:a16="http://schemas.microsoft.com/office/drawing/2014/main" id="{0791F705-9E0E-39FF-5D1D-3CDA6D156F6D}"/>
              </a:ext>
            </a:extLst>
          </p:cNvPr>
          <p:cNvSpPr txBox="1"/>
          <p:nvPr/>
        </p:nvSpPr>
        <p:spPr>
          <a:xfrm>
            <a:off x="7004898" y="4852565"/>
            <a:ext cx="1699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7)</a:t>
            </a:r>
          </a:p>
        </p:txBody>
      </p:sp>
      <p:sp>
        <p:nvSpPr>
          <p:cNvPr id="474" name="TextBox 473">
            <a:extLst>
              <a:ext uri="{FF2B5EF4-FFF2-40B4-BE49-F238E27FC236}">
                <a16:creationId xmlns:a16="http://schemas.microsoft.com/office/drawing/2014/main" id="{D2424870-232C-BFA5-F027-9489C790D1F3}"/>
              </a:ext>
            </a:extLst>
          </p:cNvPr>
          <p:cNvSpPr txBox="1"/>
          <p:nvPr/>
        </p:nvSpPr>
        <p:spPr>
          <a:xfrm>
            <a:off x="7228309" y="4852565"/>
            <a:ext cx="1699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7)</a:t>
            </a:r>
          </a:p>
        </p:txBody>
      </p:sp>
      <p:sp>
        <p:nvSpPr>
          <p:cNvPr id="475" name="TextBox 474">
            <a:extLst>
              <a:ext uri="{FF2B5EF4-FFF2-40B4-BE49-F238E27FC236}">
                <a16:creationId xmlns:a16="http://schemas.microsoft.com/office/drawing/2014/main" id="{97EB5FD2-556B-414F-CA9E-4FCE09F38785}"/>
              </a:ext>
            </a:extLst>
          </p:cNvPr>
          <p:cNvSpPr txBox="1"/>
          <p:nvPr/>
        </p:nvSpPr>
        <p:spPr>
          <a:xfrm>
            <a:off x="7458239" y="4852565"/>
            <a:ext cx="1699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7)</a:t>
            </a:r>
          </a:p>
        </p:txBody>
      </p:sp>
      <p:sp>
        <p:nvSpPr>
          <p:cNvPr id="476" name="TextBox 475">
            <a:extLst>
              <a:ext uri="{FF2B5EF4-FFF2-40B4-BE49-F238E27FC236}">
                <a16:creationId xmlns:a16="http://schemas.microsoft.com/office/drawing/2014/main" id="{70E5E98C-FF12-F53E-E9AE-F0B2BC1C829C}"/>
              </a:ext>
            </a:extLst>
          </p:cNvPr>
          <p:cNvSpPr txBox="1"/>
          <p:nvPr/>
        </p:nvSpPr>
        <p:spPr>
          <a:xfrm>
            <a:off x="7683855" y="4852565"/>
            <a:ext cx="16991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7)</a:t>
            </a:r>
          </a:p>
        </p:txBody>
      </p:sp>
      <p:sp>
        <p:nvSpPr>
          <p:cNvPr id="477" name="TextBox 476">
            <a:extLst>
              <a:ext uri="{FF2B5EF4-FFF2-40B4-BE49-F238E27FC236}">
                <a16:creationId xmlns:a16="http://schemas.microsoft.com/office/drawing/2014/main" id="{5AF42043-2606-C001-44FC-93B77771FF11}"/>
              </a:ext>
            </a:extLst>
          </p:cNvPr>
          <p:cNvSpPr txBox="1"/>
          <p:nvPr/>
        </p:nvSpPr>
        <p:spPr>
          <a:xfrm>
            <a:off x="7913608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8)</a:t>
            </a:r>
          </a:p>
        </p:txBody>
      </p:sp>
      <p:sp>
        <p:nvSpPr>
          <p:cNvPr id="478" name="TextBox 477">
            <a:extLst>
              <a:ext uri="{FF2B5EF4-FFF2-40B4-BE49-F238E27FC236}">
                <a16:creationId xmlns:a16="http://schemas.microsoft.com/office/drawing/2014/main" id="{7B18A460-FA1A-315E-6EB4-3D105F49FAF0}"/>
              </a:ext>
            </a:extLst>
          </p:cNvPr>
          <p:cNvSpPr txBox="1"/>
          <p:nvPr/>
        </p:nvSpPr>
        <p:spPr>
          <a:xfrm>
            <a:off x="8135429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8)</a:t>
            </a:r>
          </a:p>
        </p:txBody>
      </p:sp>
      <p:sp>
        <p:nvSpPr>
          <p:cNvPr id="479" name="TextBox 478">
            <a:extLst>
              <a:ext uri="{FF2B5EF4-FFF2-40B4-BE49-F238E27FC236}">
                <a16:creationId xmlns:a16="http://schemas.microsoft.com/office/drawing/2014/main" id="{26FD0028-5F28-EBF4-BB6C-DAF45253D622}"/>
              </a:ext>
            </a:extLst>
          </p:cNvPr>
          <p:cNvSpPr txBox="1"/>
          <p:nvPr/>
        </p:nvSpPr>
        <p:spPr>
          <a:xfrm>
            <a:off x="8367065" y="4852565"/>
            <a:ext cx="1827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79)</a:t>
            </a:r>
          </a:p>
        </p:txBody>
      </p:sp>
      <p:sp>
        <p:nvSpPr>
          <p:cNvPr id="480" name="TextBox 479">
            <a:extLst>
              <a:ext uri="{FF2B5EF4-FFF2-40B4-BE49-F238E27FC236}">
                <a16:creationId xmlns:a16="http://schemas.microsoft.com/office/drawing/2014/main" id="{CA003A99-3EF4-9144-41FC-ABED3BC3D1C0}"/>
              </a:ext>
            </a:extLst>
          </p:cNvPr>
          <p:cNvSpPr txBox="1"/>
          <p:nvPr/>
        </p:nvSpPr>
        <p:spPr>
          <a:xfrm>
            <a:off x="8593102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81" name="TextBox 480">
            <a:extLst>
              <a:ext uri="{FF2B5EF4-FFF2-40B4-BE49-F238E27FC236}">
                <a16:creationId xmlns:a16="http://schemas.microsoft.com/office/drawing/2014/main" id="{D575C9B8-D670-A94C-DF5C-B0BADEF77341}"/>
              </a:ext>
            </a:extLst>
          </p:cNvPr>
          <p:cNvSpPr txBox="1"/>
          <p:nvPr/>
        </p:nvSpPr>
        <p:spPr>
          <a:xfrm>
            <a:off x="8818869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82" name="TextBox 481">
            <a:extLst>
              <a:ext uri="{FF2B5EF4-FFF2-40B4-BE49-F238E27FC236}">
                <a16:creationId xmlns:a16="http://schemas.microsoft.com/office/drawing/2014/main" id="{D3ECD072-38D9-190A-6F1D-F511FC04A136}"/>
              </a:ext>
            </a:extLst>
          </p:cNvPr>
          <p:cNvSpPr txBox="1"/>
          <p:nvPr/>
        </p:nvSpPr>
        <p:spPr>
          <a:xfrm>
            <a:off x="9046664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83" name="TextBox 482">
            <a:extLst>
              <a:ext uri="{FF2B5EF4-FFF2-40B4-BE49-F238E27FC236}">
                <a16:creationId xmlns:a16="http://schemas.microsoft.com/office/drawing/2014/main" id="{F6B4424A-537E-619C-501C-28CE48AF24F2}"/>
              </a:ext>
            </a:extLst>
          </p:cNvPr>
          <p:cNvSpPr txBox="1"/>
          <p:nvPr/>
        </p:nvSpPr>
        <p:spPr>
          <a:xfrm>
            <a:off x="9274799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84" name="TextBox 483">
            <a:extLst>
              <a:ext uri="{FF2B5EF4-FFF2-40B4-BE49-F238E27FC236}">
                <a16:creationId xmlns:a16="http://schemas.microsoft.com/office/drawing/2014/main" id="{9AEC9864-ACE6-FD18-E44E-43AF8B5988A9}"/>
              </a:ext>
            </a:extLst>
          </p:cNvPr>
          <p:cNvSpPr txBox="1"/>
          <p:nvPr/>
        </p:nvSpPr>
        <p:spPr>
          <a:xfrm>
            <a:off x="9499797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85" name="TextBox 484">
            <a:extLst>
              <a:ext uri="{FF2B5EF4-FFF2-40B4-BE49-F238E27FC236}">
                <a16:creationId xmlns:a16="http://schemas.microsoft.com/office/drawing/2014/main" id="{DE43306A-51EB-69FC-0C1C-E622E122583A}"/>
              </a:ext>
            </a:extLst>
          </p:cNvPr>
          <p:cNvSpPr txBox="1"/>
          <p:nvPr/>
        </p:nvSpPr>
        <p:spPr>
          <a:xfrm>
            <a:off x="9724425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86" name="TextBox 485">
            <a:extLst>
              <a:ext uri="{FF2B5EF4-FFF2-40B4-BE49-F238E27FC236}">
                <a16:creationId xmlns:a16="http://schemas.microsoft.com/office/drawing/2014/main" id="{66773229-4109-25B1-E391-0F254F3ACA5D}"/>
              </a:ext>
            </a:extLst>
          </p:cNvPr>
          <p:cNvSpPr txBox="1"/>
          <p:nvPr/>
        </p:nvSpPr>
        <p:spPr>
          <a:xfrm>
            <a:off x="9958540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87" name="TextBox 486">
            <a:extLst>
              <a:ext uri="{FF2B5EF4-FFF2-40B4-BE49-F238E27FC236}">
                <a16:creationId xmlns:a16="http://schemas.microsoft.com/office/drawing/2014/main" id="{58C835D3-D174-44BA-747C-902D949480F8}"/>
              </a:ext>
            </a:extLst>
          </p:cNvPr>
          <p:cNvSpPr txBox="1"/>
          <p:nvPr/>
        </p:nvSpPr>
        <p:spPr>
          <a:xfrm>
            <a:off x="10187697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88" name="TextBox 487">
            <a:extLst>
              <a:ext uri="{FF2B5EF4-FFF2-40B4-BE49-F238E27FC236}">
                <a16:creationId xmlns:a16="http://schemas.microsoft.com/office/drawing/2014/main" id="{7B3806CA-016B-B024-4533-0F06FDEA95A8}"/>
              </a:ext>
            </a:extLst>
          </p:cNvPr>
          <p:cNvSpPr txBox="1"/>
          <p:nvPr/>
        </p:nvSpPr>
        <p:spPr>
          <a:xfrm>
            <a:off x="10409722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89" name="TextBox 488">
            <a:extLst>
              <a:ext uri="{FF2B5EF4-FFF2-40B4-BE49-F238E27FC236}">
                <a16:creationId xmlns:a16="http://schemas.microsoft.com/office/drawing/2014/main" id="{93F18720-1F6D-8D03-5314-556B239C1B51}"/>
              </a:ext>
            </a:extLst>
          </p:cNvPr>
          <p:cNvSpPr txBox="1"/>
          <p:nvPr/>
        </p:nvSpPr>
        <p:spPr>
          <a:xfrm>
            <a:off x="10635843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90" name="TextBox 489">
            <a:extLst>
              <a:ext uri="{FF2B5EF4-FFF2-40B4-BE49-F238E27FC236}">
                <a16:creationId xmlns:a16="http://schemas.microsoft.com/office/drawing/2014/main" id="{536E64C2-28A0-8ED9-81D3-F966F1347D5B}"/>
              </a:ext>
            </a:extLst>
          </p:cNvPr>
          <p:cNvSpPr txBox="1"/>
          <p:nvPr/>
        </p:nvSpPr>
        <p:spPr>
          <a:xfrm>
            <a:off x="10864522" y="4852565"/>
            <a:ext cx="1907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(80)</a:t>
            </a:r>
          </a:p>
        </p:txBody>
      </p:sp>
      <p:sp>
        <p:nvSpPr>
          <p:cNvPr id="491" name="TextBox 490">
            <a:extLst>
              <a:ext uri="{FF2B5EF4-FFF2-40B4-BE49-F238E27FC236}">
                <a16:creationId xmlns:a16="http://schemas.microsoft.com/office/drawing/2014/main" id="{6CC9DCD7-978F-4676-E770-A19087F60A70}"/>
              </a:ext>
            </a:extLst>
          </p:cNvPr>
          <p:cNvSpPr txBox="1"/>
          <p:nvPr/>
        </p:nvSpPr>
        <p:spPr>
          <a:xfrm>
            <a:off x="976294" y="4799406"/>
            <a:ext cx="20037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err="1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PVd</a:t>
            </a:r>
            <a:endParaRPr kumimoji="0" lang="en-US" sz="800" b="1" i="0" u="none" strike="noStrike" kern="1200" cap="none" spc="0" normalizeH="0" baseline="0" noProof="0">
              <a:ln/>
              <a:solidFill>
                <a:srgbClr val="959595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  <a:rtl val="0"/>
            </a:endParaRPr>
          </a:p>
        </p:txBody>
      </p:sp>
      <p:sp>
        <p:nvSpPr>
          <p:cNvPr id="492" name="TextBox 491">
            <a:extLst>
              <a:ext uri="{FF2B5EF4-FFF2-40B4-BE49-F238E27FC236}">
                <a16:creationId xmlns:a16="http://schemas.microsoft.com/office/drawing/2014/main" id="{14283653-6AD1-5262-DF63-F6A013673393}"/>
              </a:ext>
            </a:extLst>
          </p:cNvPr>
          <p:cNvSpPr txBox="1"/>
          <p:nvPr/>
        </p:nvSpPr>
        <p:spPr>
          <a:xfrm>
            <a:off x="5085539" y="4048752"/>
            <a:ext cx="238398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rPr>
              <a:t>Time since randomization, months</a:t>
            </a:r>
          </a:p>
        </p:txBody>
      </p:sp>
      <p:sp>
        <p:nvSpPr>
          <p:cNvPr id="493" name="TextBox 492">
            <a:extLst>
              <a:ext uri="{FF2B5EF4-FFF2-40B4-BE49-F238E27FC236}">
                <a16:creationId xmlns:a16="http://schemas.microsoft.com/office/drawing/2014/main" id="{00B5F948-6E12-50AE-F9E2-94D261A31193}"/>
              </a:ext>
            </a:extLst>
          </p:cNvPr>
          <p:cNvSpPr txBox="1"/>
          <p:nvPr/>
        </p:nvSpPr>
        <p:spPr>
          <a:xfrm>
            <a:off x="2061310" y="3879003"/>
            <a:ext cx="94952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494" name="TextBox 493">
            <a:extLst>
              <a:ext uri="{FF2B5EF4-FFF2-40B4-BE49-F238E27FC236}">
                <a16:creationId xmlns:a16="http://schemas.microsoft.com/office/drawing/2014/main" id="{95C983B1-2947-2943-1C8A-DC5CE15F9BC0}"/>
              </a:ext>
            </a:extLst>
          </p:cNvPr>
          <p:cNvSpPr txBox="1"/>
          <p:nvPr/>
        </p:nvSpPr>
        <p:spPr>
          <a:xfrm>
            <a:off x="2287488" y="3879003"/>
            <a:ext cx="94952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</a:t>
            </a:r>
          </a:p>
        </p:txBody>
      </p:sp>
      <p:sp>
        <p:nvSpPr>
          <p:cNvPr id="495" name="TextBox 494">
            <a:extLst>
              <a:ext uri="{FF2B5EF4-FFF2-40B4-BE49-F238E27FC236}">
                <a16:creationId xmlns:a16="http://schemas.microsoft.com/office/drawing/2014/main" id="{AB9F5B1D-F2E4-4251-120A-9FD26512FFB1}"/>
              </a:ext>
            </a:extLst>
          </p:cNvPr>
          <p:cNvSpPr txBox="1"/>
          <p:nvPr/>
        </p:nvSpPr>
        <p:spPr>
          <a:xfrm>
            <a:off x="2513619" y="3879003"/>
            <a:ext cx="94952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</a:t>
            </a:r>
          </a:p>
        </p:txBody>
      </p:sp>
      <p:sp>
        <p:nvSpPr>
          <p:cNvPr id="496" name="TextBox 495">
            <a:extLst>
              <a:ext uri="{FF2B5EF4-FFF2-40B4-BE49-F238E27FC236}">
                <a16:creationId xmlns:a16="http://schemas.microsoft.com/office/drawing/2014/main" id="{5948EDF8-7575-A746-B540-B1FD72AA04F7}"/>
              </a:ext>
            </a:extLst>
          </p:cNvPr>
          <p:cNvSpPr txBox="1"/>
          <p:nvPr/>
        </p:nvSpPr>
        <p:spPr>
          <a:xfrm>
            <a:off x="2743798" y="3879003"/>
            <a:ext cx="94952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</a:t>
            </a:r>
          </a:p>
        </p:txBody>
      </p:sp>
      <p:sp>
        <p:nvSpPr>
          <p:cNvPr id="497" name="TextBox 496">
            <a:extLst>
              <a:ext uri="{FF2B5EF4-FFF2-40B4-BE49-F238E27FC236}">
                <a16:creationId xmlns:a16="http://schemas.microsoft.com/office/drawing/2014/main" id="{E0B33CEE-EF6C-7E0F-2464-FA7216D2A28B}"/>
              </a:ext>
            </a:extLst>
          </p:cNvPr>
          <p:cNvSpPr txBox="1"/>
          <p:nvPr/>
        </p:nvSpPr>
        <p:spPr>
          <a:xfrm>
            <a:off x="2969975" y="3879003"/>
            <a:ext cx="94952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4</a:t>
            </a:r>
          </a:p>
        </p:txBody>
      </p:sp>
      <p:sp>
        <p:nvSpPr>
          <p:cNvPr id="498" name="TextBox 497">
            <a:extLst>
              <a:ext uri="{FF2B5EF4-FFF2-40B4-BE49-F238E27FC236}">
                <a16:creationId xmlns:a16="http://schemas.microsoft.com/office/drawing/2014/main" id="{0B75742D-A087-D828-10EB-191CA7BF3B7D}"/>
              </a:ext>
            </a:extLst>
          </p:cNvPr>
          <p:cNvSpPr txBox="1"/>
          <p:nvPr/>
        </p:nvSpPr>
        <p:spPr>
          <a:xfrm>
            <a:off x="3196152" y="3879003"/>
            <a:ext cx="94952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5</a:t>
            </a:r>
          </a:p>
        </p:txBody>
      </p:sp>
      <p:sp>
        <p:nvSpPr>
          <p:cNvPr id="499" name="TextBox 498">
            <a:extLst>
              <a:ext uri="{FF2B5EF4-FFF2-40B4-BE49-F238E27FC236}">
                <a16:creationId xmlns:a16="http://schemas.microsoft.com/office/drawing/2014/main" id="{150A7F41-3133-D19D-78CF-0D6E5278D877}"/>
              </a:ext>
            </a:extLst>
          </p:cNvPr>
          <p:cNvSpPr txBox="1"/>
          <p:nvPr/>
        </p:nvSpPr>
        <p:spPr>
          <a:xfrm>
            <a:off x="3426331" y="3879003"/>
            <a:ext cx="94952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6</a:t>
            </a:r>
          </a:p>
        </p:txBody>
      </p:sp>
      <p:sp>
        <p:nvSpPr>
          <p:cNvPr id="500" name="TextBox 499">
            <a:extLst>
              <a:ext uri="{FF2B5EF4-FFF2-40B4-BE49-F238E27FC236}">
                <a16:creationId xmlns:a16="http://schemas.microsoft.com/office/drawing/2014/main" id="{903BD3EA-FD73-9881-DC97-8ABBAC9AAC1F}"/>
              </a:ext>
            </a:extLst>
          </p:cNvPr>
          <p:cNvSpPr txBox="1"/>
          <p:nvPr/>
        </p:nvSpPr>
        <p:spPr>
          <a:xfrm>
            <a:off x="3653097" y="3879003"/>
            <a:ext cx="94952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7</a:t>
            </a:r>
          </a:p>
        </p:txBody>
      </p:sp>
      <p:sp>
        <p:nvSpPr>
          <p:cNvPr id="501" name="TextBox 500">
            <a:extLst>
              <a:ext uri="{FF2B5EF4-FFF2-40B4-BE49-F238E27FC236}">
                <a16:creationId xmlns:a16="http://schemas.microsoft.com/office/drawing/2014/main" id="{3EA32BF1-347F-2711-95DF-38FDB3C7D916}"/>
              </a:ext>
            </a:extLst>
          </p:cNvPr>
          <p:cNvSpPr txBox="1"/>
          <p:nvPr/>
        </p:nvSpPr>
        <p:spPr>
          <a:xfrm>
            <a:off x="3878685" y="3879003"/>
            <a:ext cx="94952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8</a:t>
            </a:r>
          </a:p>
        </p:txBody>
      </p:sp>
      <p:sp>
        <p:nvSpPr>
          <p:cNvPr id="502" name="TextBox 501">
            <a:extLst>
              <a:ext uri="{FF2B5EF4-FFF2-40B4-BE49-F238E27FC236}">
                <a16:creationId xmlns:a16="http://schemas.microsoft.com/office/drawing/2014/main" id="{D383C4EF-5F0C-BDFD-CBD7-8FF3EFBE5A68}"/>
              </a:ext>
            </a:extLst>
          </p:cNvPr>
          <p:cNvSpPr txBox="1"/>
          <p:nvPr/>
        </p:nvSpPr>
        <p:spPr>
          <a:xfrm>
            <a:off x="4104863" y="3879003"/>
            <a:ext cx="94952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9</a:t>
            </a:r>
          </a:p>
        </p:txBody>
      </p:sp>
      <p:sp>
        <p:nvSpPr>
          <p:cNvPr id="503" name="TextBox 502">
            <a:extLst>
              <a:ext uri="{FF2B5EF4-FFF2-40B4-BE49-F238E27FC236}">
                <a16:creationId xmlns:a16="http://schemas.microsoft.com/office/drawing/2014/main" id="{B537CFDA-24CB-8AEE-2B2D-4836BFDF0AB8}"/>
              </a:ext>
            </a:extLst>
          </p:cNvPr>
          <p:cNvSpPr txBox="1"/>
          <p:nvPr/>
        </p:nvSpPr>
        <p:spPr>
          <a:xfrm>
            <a:off x="4280241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0</a:t>
            </a:r>
          </a:p>
        </p:txBody>
      </p:sp>
      <p:sp>
        <p:nvSpPr>
          <p:cNvPr id="504" name="TextBox 503">
            <a:extLst>
              <a:ext uri="{FF2B5EF4-FFF2-40B4-BE49-F238E27FC236}">
                <a16:creationId xmlns:a16="http://schemas.microsoft.com/office/drawing/2014/main" id="{7995B84A-3B21-BEB2-38F9-8B478FF301C4}"/>
              </a:ext>
            </a:extLst>
          </p:cNvPr>
          <p:cNvSpPr txBox="1"/>
          <p:nvPr/>
        </p:nvSpPr>
        <p:spPr>
          <a:xfrm>
            <a:off x="4512664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1</a:t>
            </a:r>
          </a:p>
        </p:txBody>
      </p:sp>
      <p:sp>
        <p:nvSpPr>
          <p:cNvPr id="505" name="TextBox 504">
            <a:extLst>
              <a:ext uri="{FF2B5EF4-FFF2-40B4-BE49-F238E27FC236}">
                <a16:creationId xmlns:a16="http://schemas.microsoft.com/office/drawing/2014/main" id="{A31F71EC-BD2D-D421-55BC-4BB3D01B34BE}"/>
              </a:ext>
            </a:extLst>
          </p:cNvPr>
          <p:cNvSpPr txBox="1"/>
          <p:nvPr/>
        </p:nvSpPr>
        <p:spPr>
          <a:xfrm>
            <a:off x="4738870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2</a:t>
            </a:r>
          </a:p>
        </p:txBody>
      </p:sp>
      <p:sp>
        <p:nvSpPr>
          <p:cNvPr id="506" name="TextBox 505">
            <a:extLst>
              <a:ext uri="{FF2B5EF4-FFF2-40B4-BE49-F238E27FC236}">
                <a16:creationId xmlns:a16="http://schemas.microsoft.com/office/drawing/2014/main" id="{F548F72A-EB33-D4A2-E43C-85FDACBA6466}"/>
              </a:ext>
            </a:extLst>
          </p:cNvPr>
          <p:cNvSpPr txBox="1"/>
          <p:nvPr/>
        </p:nvSpPr>
        <p:spPr>
          <a:xfrm>
            <a:off x="4965344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3</a:t>
            </a:r>
          </a:p>
        </p:txBody>
      </p:sp>
      <p:sp>
        <p:nvSpPr>
          <p:cNvPr id="507" name="TextBox 506">
            <a:extLst>
              <a:ext uri="{FF2B5EF4-FFF2-40B4-BE49-F238E27FC236}">
                <a16:creationId xmlns:a16="http://schemas.microsoft.com/office/drawing/2014/main" id="{D7444158-45FE-ED31-7391-9B50A15639CD}"/>
              </a:ext>
            </a:extLst>
          </p:cNvPr>
          <p:cNvSpPr txBox="1"/>
          <p:nvPr/>
        </p:nvSpPr>
        <p:spPr>
          <a:xfrm>
            <a:off x="5194456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4</a:t>
            </a:r>
          </a:p>
        </p:txBody>
      </p:sp>
      <p:sp>
        <p:nvSpPr>
          <p:cNvPr id="508" name="TextBox 507">
            <a:extLst>
              <a:ext uri="{FF2B5EF4-FFF2-40B4-BE49-F238E27FC236}">
                <a16:creationId xmlns:a16="http://schemas.microsoft.com/office/drawing/2014/main" id="{312B47C8-8660-2FF1-0BA7-583C4EADBCA1}"/>
              </a:ext>
            </a:extLst>
          </p:cNvPr>
          <p:cNvSpPr txBox="1"/>
          <p:nvPr/>
        </p:nvSpPr>
        <p:spPr>
          <a:xfrm>
            <a:off x="5419531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5</a:t>
            </a:r>
          </a:p>
        </p:txBody>
      </p:sp>
      <p:sp>
        <p:nvSpPr>
          <p:cNvPr id="509" name="TextBox 508">
            <a:extLst>
              <a:ext uri="{FF2B5EF4-FFF2-40B4-BE49-F238E27FC236}">
                <a16:creationId xmlns:a16="http://schemas.microsoft.com/office/drawing/2014/main" id="{8D7DC6E8-0BA5-8D25-7E47-602D869E0384}"/>
              </a:ext>
            </a:extLst>
          </p:cNvPr>
          <p:cNvSpPr txBox="1"/>
          <p:nvPr/>
        </p:nvSpPr>
        <p:spPr>
          <a:xfrm>
            <a:off x="5650642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6</a:t>
            </a:r>
          </a:p>
        </p:txBody>
      </p:sp>
      <p:sp>
        <p:nvSpPr>
          <p:cNvPr id="510" name="TextBox 509">
            <a:extLst>
              <a:ext uri="{FF2B5EF4-FFF2-40B4-BE49-F238E27FC236}">
                <a16:creationId xmlns:a16="http://schemas.microsoft.com/office/drawing/2014/main" id="{D4291803-EEA9-83AB-DFD7-F1DAD7EF6567}"/>
              </a:ext>
            </a:extLst>
          </p:cNvPr>
          <p:cNvSpPr txBox="1"/>
          <p:nvPr/>
        </p:nvSpPr>
        <p:spPr>
          <a:xfrm>
            <a:off x="5874974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7</a:t>
            </a:r>
          </a:p>
        </p:txBody>
      </p:sp>
      <p:sp>
        <p:nvSpPr>
          <p:cNvPr id="511" name="TextBox 510">
            <a:extLst>
              <a:ext uri="{FF2B5EF4-FFF2-40B4-BE49-F238E27FC236}">
                <a16:creationId xmlns:a16="http://schemas.microsoft.com/office/drawing/2014/main" id="{9D56563F-1650-1375-B445-F0AC4A17E639}"/>
              </a:ext>
            </a:extLst>
          </p:cNvPr>
          <p:cNvSpPr txBox="1"/>
          <p:nvPr/>
        </p:nvSpPr>
        <p:spPr>
          <a:xfrm>
            <a:off x="6101396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8</a:t>
            </a:r>
          </a:p>
        </p:txBody>
      </p:sp>
      <p:sp>
        <p:nvSpPr>
          <p:cNvPr id="512" name="TextBox 511">
            <a:extLst>
              <a:ext uri="{FF2B5EF4-FFF2-40B4-BE49-F238E27FC236}">
                <a16:creationId xmlns:a16="http://schemas.microsoft.com/office/drawing/2014/main" id="{572D4BF0-02C2-8548-739B-4AFE44522F2B}"/>
              </a:ext>
            </a:extLst>
          </p:cNvPr>
          <p:cNvSpPr txBox="1"/>
          <p:nvPr/>
        </p:nvSpPr>
        <p:spPr>
          <a:xfrm>
            <a:off x="6331616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19</a:t>
            </a:r>
          </a:p>
        </p:txBody>
      </p:sp>
      <p:sp>
        <p:nvSpPr>
          <p:cNvPr id="513" name="TextBox 512">
            <a:extLst>
              <a:ext uri="{FF2B5EF4-FFF2-40B4-BE49-F238E27FC236}">
                <a16:creationId xmlns:a16="http://schemas.microsoft.com/office/drawing/2014/main" id="{900496FA-0407-ED62-A202-8411C5626646}"/>
              </a:ext>
            </a:extLst>
          </p:cNvPr>
          <p:cNvSpPr txBox="1"/>
          <p:nvPr/>
        </p:nvSpPr>
        <p:spPr>
          <a:xfrm>
            <a:off x="6552903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0</a:t>
            </a:r>
          </a:p>
        </p:txBody>
      </p:sp>
      <p:sp>
        <p:nvSpPr>
          <p:cNvPr id="514" name="TextBox 513">
            <a:extLst>
              <a:ext uri="{FF2B5EF4-FFF2-40B4-BE49-F238E27FC236}">
                <a16:creationId xmlns:a16="http://schemas.microsoft.com/office/drawing/2014/main" id="{3DB59A46-6ADB-2342-8A04-63C40243F718}"/>
              </a:ext>
            </a:extLst>
          </p:cNvPr>
          <p:cNvSpPr txBox="1"/>
          <p:nvPr/>
        </p:nvSpPr>
        <p:spPr>
          <a:xfrm>
            <a:off x="6781026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1</a:t>
            </a:r>
          </a:p>
        </p:txBody>
      </p:sp>
      <p:sp>
        <p:nvSpPr>
          <p:cNvPr id="515" name="TextBox 514">
            <a:extLst>
              <a:ext uri="{FF2B5EF4-FFF2-40B4-BE49-F238E27FC236}">
                <a16:creationId xmlns:a16="http://schemas.microsoft.com/office/drawing/2014/main" id="{41705E91-A193-6742-602D-06F0942D9E96}"/>
              </a:ext>
            </a:extLst>
          </p:cNvPr>
          <p:cNvSpPr txBox="1"/>
          <p:nvPr/>
        </p:nvSpPr>
        <p:spPr>
          <a:xfrm>
            <a:off x="7010958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2</a:t>
            </a:r>
          </a:p>
        </p:txBody>
      </p:sp>
      <p:sp>
        <p:nvSpPr>
          <p:cNvPr id="516" name="TextBox 515">
            <a:extLst>
              <a:ext uri="{FF2B5EF4-FFF2-40B4-BE49-F238E27FC236}">
                <a16:creationId xmlns:a16="http://schemas.microsoft.com/office/drawing/2014/main" id="{A7CC8E3A-300E-FC24-74B9-52EB7028E9A1}"/>
              </a:ext>
            </a:extLst>
          </p:cNvPr>
          <p:cNvSpPr txBox="1"/>
          <p:nvPr/>
        </p:nvSpPr>
        <p:spPr>
          <a:xfrm>
            <a:off x="7234370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3</a:t>
            </a:r>
          </a:p>
        </p:txBody>
      </p:sp>
      <p:sp>
        <p:nvSpPr>
          <p:cNvPr id="517" name="TextBox 516">
            <a:extLst>
              <a:ext uri="{FF2B5EF4-FFF2-40B4-BE49-F238E27FC236}">
                <a16:creationId xmlns:a16="http://schemas.microsoft.com/office/drawing/2014/main" id="{F07DDBD3-14E9-6751-6C02-80BE98BD7FB3}"/>
              </a:ext>
            </a:extLst>
          </p:cNvPr>
          <p:cNvSpPr txBox="1"/>
          <p:nvPr/>
        </p:nvSpPr>
        <p:spPr>
          <a:xfrm>
            <a:off x="7464299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4</a:t>
            </a:r>
          </a:p>
        </p:txBody>
      </p:sp>
      <p:sp>
        <p:nvSpPr>
          <p:cNvPr id="518" name="TextBox 517">
            <a:extLst>
              <a:ext uri="{FF2B5EF4-FFF2-40B4-BE49-F238E27FC236}">
                <a16:creationId xmlns:a16="http://schemas.microsoft.com/office/drawing/2014/main" id="{497E621C-BA81-673A-E1C6-96A34497D98A}"/>
              </a:ext>
            </a:extLst>
          </p:cNvPr>
          <p:cNvSpPr txBox="1"/>
          <p:nvPr/>
        </p:nvSpPr>
        <p:spPr>
          <a:xfrm>
            <a:off x="7689916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5</a:t>
            </a:r>
          </a:p>
        </p:txBody>
      </p:sp>
      <p:sp>
        <p:nvSpPr>
          <p:cNvPr id="519" name="TextBox 518">
            <a:extLst>
              <a:ext uri="{FF2B5EF4-FFF2-40B4-BE49-F238E27FC236}">
                <a16:creationId xmlns:a16="http://schemas.microsoft.com/office/drawing/2014/main" id="{AE50378C-C2D8-79CA-5EF8-2E4063B343EE}"/>
              </a:ext>
            </a:extLst>
          </p:cNvPr>
          <p:cNvSpPr txBox="1"/>
          <p:nvPr/>
        </p:nvSpPr>
        <p:spPr>
          <a:xfrm>
            <a:off x="7919669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6</a:t>
            </a:r>
          </a:p>
        </p:txBody>
      </p:sp>
      <p:sp>
        <p:nvSpPr>
          <p:cNvPr id="520" name="TextBox 519">
            <a:extLst>
              <a:ext uri="{FF2B5EF4-FFF2-40B4-BE49-F238E27FC236}">
                <a16:creationId xmlns:a16="http://schemas.microsoft.com/office/drawing/2014/main" id="{CA923D8F-5603-4042-E6EF-D27111706337}"/>
              </a:ext>
            </a:extLst>
          </p:cNvPr>
          <p:cNvSpPr txBox="1"/>
          <p:nvPr/>
        </p:nvSpPr>
        <p:spPr>
          <a:xfrm>
            <a:off x="8141490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7</a:t>
            </a:r>
          </a:p>
        </p:txBody>
      </p:sp>
      <p:sp>
        <p:nvSpPr>
          <p:cNvPr id="521" name="TextBox 520">
            <a:extLst>
              <a:ext uri="{FF2B5EF4-FFF2-40B4-BE49-F238E27FC236}">
                <a16:creationId xmlns:a16="http://schemas.microsoft.com/office/drawing/2014/main" id="{5D76042E-2F1D-43B7-4161-EA434709ED1B}"/>
              </a:ext>
            </a:extLst>
          </p:cNvPr>
          <p:cNvSpPr txBox="1"/>
          <p:nvPr/>
        </p:nvSpPr>
        <p:spPr>
          <a:xfrm>
            <a:off x="8373126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8</a:t>
            </a: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8B705D7A-52E4-CBD2-612E-04789E5F6303}"/>
              </a:ext>
            </a:extLst>
          </p:cNvPr>
          <p:cNvSpPr txBox="1"/>
          <p:nvPr/>
        </p:nvSpPr>
        <p:spPr>
          <a:xfrm>
            <a:off x="8599163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29</a:t>
            </a:r>
          </a:p>
        </p:txBody>
      </p:sp>
      <p:sp>
        <p:nvSpPr>
          <p:cNvPr id="523" name="TextBox 522">
            <a:extLst>
              <a:ext uri="{FF2B5EF4-FFF2-40B4-BE49-F238E27FC236}">
                <a16:creationId xmlns:a16="http://schemas.microsoft.com/office/drawing/2014/main" id="{8340B80E-43D6-D039-6BA7-2FFA6DCA3015}"/>
              </a:ext>
            </a:extLst>
          </p:cNvPr>
          <p:cNvSpPr txBox="1"/>
          <p:nvPr/>
        </p:nvSpPr>
        <p:spPr>
          <a:xfrm>
            <a:off x="8824929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0</a:t>
            </a:r>
          </a:p>
        </p:txBody>
      </p:sp>
      <p:sp>
        <p:nvSpPr>
          <p:cNvPr id="524" name="TextBox 523">
            <a:extLst>
              <a:ext uri="{FF2B5EF4-FFF2-40B4-BE49-F238E27FC236}">
                <a16:creationId xmlns:a16="http://schemas.microsoft.com/office/drawing/2014/main" id="{76087BF0-1E46-D187-8C3C-79CDDD1571F7}"/>
              </a:ext>
            </a:extLst>
          </p:cNvPr>
          <p:cNvSpPr txBox="1"/>
          <p:nvPr/>
        </p:nvSpPr>
        <p:spPr>
          <a:xfrm>
            <a:off x="9052725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1</a:t>
            </a:r>
          </a:p>
        </p:txBody>
      </p:sp>
      <p:sp>
        <p:nvSpPr>
          <p:cNvPr id="525" name="TextBox 524">
            <a:extLst>
              <a:ext uri="{FF2B5EF4-FFF2-40B4-BE49-F238E27FC236}">
                <a16:creationId xmlns:a16="http://schemas.microsoft.com/office/drawing/2014/main" id="{9BE6BD50-2979-AA8D-935B-01FD900B116B}"/>
              </a:ext>
            </a:extLst>
          </p:cNvPr>
          <p:cNvSpPr txBox="1"/>
          <p:nvPr/>
        </p:nvSpPr>
        <p:spPr>
          <a:xfrm>
            <a:off x="9280860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2</a:t>
            </a:r>
          </a:p>
        </p:txBody>
      </p:sp>
      <p:sp>
        <p:nvSpPr>
          <p:cNvPr id="526" name="TextBox 525">
            <a:extLst>
              <a:ext uri="{FF2B5EF4-FFF2-40B4-BE49-F238E27FC236}">
                <a16:creationId xmlns:a16="http://schemas.microsoft.com/office/drawing/2014/main" id="{D9B926FB-411F-AC6B-E5B6-1B88F0E221BB}"/>
              </a:ext>
            </a:extLst>
          </p:cNvPr>
          <p:cNvSpPr txBox="1"/>
          <p:nvPr/>
        </p:nvSpPr>
        <p:spPr>
          <a:xfrm>
            <a:off x="9505858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3</a:t>
            </a:r>
          </a:p>
        </p:txBody>
      </p:sp>
      <p:sp>
        <p:nvSpPr>
          <p:cNvPr id="527" name="TextBox 526">
            <a:extLst>
              <a:ext uri="{FF2B5EF4-FFF2-40B4-BE49-F238E27FC236}">
                <a16:creationId xmlns:a16="http://schemas.microsoft.com/office/drawing/2014/main" id="{3356A203-3756-5CEA-1FE7-1E8447FCF7F4}"/>
              </a:ext>
            </a:extLst>
          </p:cNvPr>
          <p:cNvSpPr txBox="1"/>
          <p:nvPr/>
        </p:nvSpPr>
        <p:spPr>
          <a:xfrm>
            <a:off x="9730486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4</a:t>
            </a:r>
          </a:p>
        </p:txBody>
      </p:sp>
      <p:sp>
        <p:nvSpPr>
          <p:cNvPr id="528" name="TextBox 527">
            <a:extLst>
              <a:ext uri="{FF2B5EF4-FFF2-40B4-BE49-F238E27FC236}">
                <a16:creationId xmlns:a16="http://schemas.microsoft.com/office/drawing/2014/main" id="{E2B59E9D-B9D6-722D-0B94-6349E1B7EEE2}"/>
              </a:ext>
            </a:extLst>
          </p:cNvPr>
          <p:cNvSpPr txBox="1"/>
          <p:nvPr/>
        </p:nvSpPr>
        <p:spPr>
          <a:xfrm>
            <a:off x="9964601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5</a:t>
            </a:r>
          </a:p>
        </p:txBody>
      </p:sp>
      <p:sp>
        <p:nvSpPr>
          <p:cNvPr id="529" name="TextBox 528">
            <a:extLst>
              <a:ext uri="{FF2B5EF4-FFF2-40B4-BE49-F238E27FC236}">
                <a16:creationId xmlns:a16="http://schemas.microsoft.com/office/drawing/2014/main" id="{D2B94950-039A-D523-BEFE-7D4CF0BCD328}"/>
              </a:ext>
            </a:extLst>
          </p:cNvPr>
          <p:cNvSpPr txBox="1"/>
          <p:nvPr/>
        </p:nvSpPr>
        <p:spPr>
          <a:xfrm>
            <a:off x="10193758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6</a:t>
            </a:r>
          </a:p>
        </p:txBody>
      </p:sp>
      <p:sp>
        <p:nvSpPr>
          <p:cNvPr id="530" name="TextBox 529">
            <a:extLst>
              <a:ext uri="{FF2B5EF4-FFF2-40B4-BE49-F238E27FC236}">
                <a16:creationId xmlns:a16="http://schemas.microsoft.com/office/drawing/2014/main" id="{C989BDEC-4EE7-AE04-F344-4A9181D5BCD6}"/>
              </a:ext>
            </a:extLst>
          </p:cNvPr>
          <p:cNvSpPr txBox="1"/>
          <p:nvPr/>
        </p:nvSpPr>
        <p:spPr>
          <a:xfrm>
            <a:off x="10415783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7</a:t>
            </a:r>
          </a:p>
        </p:txBody>
      </p:sp>
      <p:sp>
        <p:nvSpPr>
          <p:cNvPr id="531" name="TextBox 530">
            <a:extLst>
              <a:ext uri="{FF2B5EF4-FFF2-40B4-BE49-F238E27FC236}">
                <a16:creationId xmlns:a16="http://schemas.microsoft.com/office/drawing/2014/main" id="{10FFD471-DFD4-5E72-BA90-637F21A83678}"/>
              </a:ext>
            </a:extLst>
          </p:cNvPr>
          <p:cNvSpPr txBox="1"/>
          <p:nvPr/>
        </p:nvSpPr>
        <p:spPr>
          <a:xfrm>
            <a:off x="10641903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8</a:t>
            </a:r>
          </a:p>
        </p:txBody>
      </p:sp>
      <p:sp>
        <p:nvSpPr>
          <p:cNvPr id="532" name="TextBox 531">
            <a:extLst>
              <a:ext uri="{FF2B5EF4-FFF2-40B4-BE49-F238E27FC236}">
                <a16:creationId xmlns:a16="http://schemas.microsoft.com/office/drawing/2014/main" id="{EC0D08F3-2C7E-4F4A-776C-6407BF656D4F}"/>
              </a:ext>
            </a:extLst>
          </p:cNvPr>
          <p:cNvSpPr txBox="1"/>
          <p:nvPr/>
        </p:nvSpPr>
        <p:spPr>
          <a:xfrm>
            <a:off x="10870583" y="3879003"/>
            <a:ext cx="189905" cy="17514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  <a:rtl val="0"/>
              </a:rPr>
              <a:t>39</a:t>
            </a:r>
          </a:p>
        </p:txBody>
      </p:sp>
      <p:grpSp>
        <p:nvGrpSpPr>
          <p:cNvPr id="544" name="Group 543">
            <a:extLst>
              <a:ext uri="{FF2B5EF4-FFF2-40B4-BE49-F238E27FC236}">
                <a16:creationId xmlns:a16="http://schemas.microsoft.com/office/drawing/2014/main" id="{446971CD-F56F-EE82-DB6D-7EDC678256B4}"/>
              </a:ext>
            </a:extLst>
          </p:cNvPr>
          <p:cNvGrpSpPr/>
          <p:nvPr/>
        </p:nvGrpSpPr>
        <p:grpSpPr>
          <a:xfrm>
            <a:off x="2045464" y="3195008"/>
            <a:ext cx="808348" cy="577688"/>
            <a:chOff x="2054989" y="3537908"/>
            <a:chExt cx="808348" cy="577688"/>
          </a:xfrm>
        </p:grpSpPr>
        <p:sp>
          <p:nvSpPr>
            <p:cNvPr id="533" name="Freeform: Shape 1183">
              <a:extLst>
                <a:ext uri="{FF2B5EF4-FFF2-40B4-BE49-F238E27FC236}">
                  <a16:creationId xmlns:a16="http://schemas.microsoft.com/office/drawing/2014/main" id="{6E86D022-8D64-C096-86B2-A5B616152BE4}"/>
                </a:ext>
              </a:extLst>
            </p:cNvPr>
            <p:cNvSpPr/>
            <p:nvPr/>
          </p:nvSpPr>
          <p:spPr>
            <a:xfrm flipV="1">
              <a:off x="2054989" y="3956007"/>
              <a:ext cx="289240" cy="45719"/>
            </a:xfrm>
            <a:custGeom>
              <a:avLst/>
              <a:gdLst>
                <a:gd name="connsiteX0" fmla="*/ 0 w 494537"/>
                <a:gd name="connsiteY0" fmla="*/ 0 h 9525"/>
                <a:gd name="connsiteX1" fmla="*/ 494538 w 49453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4537" h="9525">
                  <a:moveTo>
                    <a:pt x="0" y="0"/>
                  </a:moveTo>
                  <a:lnTo>
                    <a:pt x="494538" y="0"/>
                  </a:lnTo>
                </a:path>
              </a:pathLst>
            </a:custGeom>
            <a:ln w="19050" cap="sq">
              <a:solidFill>
                <a:schemeClr val="bg2">
                  <a:lumMod val="5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34" name="Freeform: Shape 1185">
              <a:extLst>
                <a:ext uri="{FF2B5EF4-FFF2-40B4-BE49-F238E27FC236}">
                  <a16:creationId xmlns:a16="http://schemas.microsoft.com/office/drawing/2014/main" id="{5A0D2D30-D1B9-FB1A-E274-B34EF7A440D6}"/>
                </a:ext>
              </a:extLst>
            </p:cNvPr>
            <p:cNvSpPr/>
            <p:nvPr/>
          </p:nvSpPr>
          <p:spPr>
            <a:xfrm>
              <a:off x="2070263" y="3680093"/>
              <a:ext cx="291421" cy="45719"/>
            </a:xfrm>
            <a:custGeom>
              <a:avLst/>
              <a:gdLst>
                <a:gd name="connsiteX0" fmla="*/ 0 w 494537"/>
                <a:gd name="connsiteY0" fmla="*/ 0 h 9525"/>
                <a:gd name="connsiteX1" fmla="*/ 494538 w 49453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4537" h="9525">
                  <a:moveTo>
                    <a:pt x="0" y="0"/>
                  </a:moveTo>
                  <a:lnTo>
                    <a:pt x="494538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35" name="TextBox 534">
              <a:extLst>
                <a:ext uri="{FF2B5EF4-FFF2-40B4-BE49-F238E27FC236}">
                  <a16:creationId xmlns:a16="http://schemas.microsoft.com/office/drawing/2014/main" id="{86ED130C-CB1E-BCCA-86A5-873050FCC73C}"/>
                </a:ext>
              </a:extLst>
            </p:cNvPr>
            <p:cNvSpPr txBox="1"/>
            <p:nvPr/>
          </p:nvSpPr>
          <p:spPr>
            <a:xfrm>
              <a:off x="2388527" y="3838597"/>
              <a:ext cx="474810" cy="27699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err="1">
                  <a:ln/>
                  <a:solidFill>
                    <a:srgbClr val="95959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  <a:sym typeface="Arial"/>
                  <a:rtl val="0"/>
                </a:rPr>
                <a:t>PVd</a:t>
              </a:r>
              <a:endParaRPr kumimoji="0" lang="en-US" sz="1200" b="0" i="0" u="none" strike="noStrike" kern="1200" cap="none" spc="0" normalizeH="0" baseline="0" noProof="0">
                <a:ln/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endParaRPr>
            </a:p>
          </p:txBody>
        </p:sp>
        <p:sp>
          <p:nvSpPr>
            <p:cNvPr id="536" name="TextBox 535">
              <a:extLst>
                <a:ext uri="{FF2B5EF4-FFF2-40B4-BE49-F238E27FC236}">
                  <a16:creationId xmlns:a16="http://schemas.microsoft.com/office/drawing/2014/main" id="{4A9BE1E4-72C6-89FB-086E-BA7E9DA77197}"/>
                </a:ext>
              </a:extLst>
            </p:cNvPr>
            <p:cNvSpPr txBox="1"/>
            <p:nvPr/>
          </p:nvSpPr>
          <p:spPr>
            <a:xfrm>
              <a:off x="2388159" y="3537908"/>
              <a:ext cx="474810" cy="27699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err="1">
                  <a:ln/>
                  <a:solidFill>
                    <a:srgbClr val="00B8A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  <a:sym typeface="Arial"/>
                  <a:rtl val="0"/>
                </a:rPr>
                <a:t>BPd</a:t>
              </a:r>
              <a:endParaRPr kumimoji="0" lang="en-US" sz="1200" b="0" i="0" u="none" strike="noStrike" kern="1200" cap="none" spc="0" normalizeH="0" baseline="0" noProof="0">
                <a:ln/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  <a:rtl val="0"/>
              </a:endParaRPr>
            </a:p>
          </p:txBody>
        </p:sp>
      </p:grpSp>
      <p:cxnSp>
        <p:nvCxnSpPr>
          <p:cNvPr id="537" name="Straight Connector 536">
            <a:extLst>
              <a:ext uri="{FF2B5EF4-FFF2-40B4-BE49-F238E27FC236}">
                <a16:creationId xmlns:a16="http://schemas.microsoft.com/office/drawing/2014/main" id="{A00B65F7-D68D-DF3A-A5D6-E8F78A08268D}"/>
              </a:ext>
            </a:extLst>
          </p:cNvPr>
          <p:cNvCxnSpPr>
            <a:cxnSpLocks/>
          </p:cNvCxnSpPr>
          <p:nvPr/>
        </p:nvCxnSpPr>
        <p:spPr>
          <a:xfrm flipH="1" flipV="1">
            <a:off x="4836821" y="1396951"/>
            <a:ext cx="6125" cy="2415363"/>
          </a:xfrm>
          <a:prstGeom prst="line">
            <a:avLst/>
          </a:prstGeom>
          <a:ln w="19050">
            <a:solidFill>
              <a:schemeClr val="bg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8" name="TextBox 537">
            <a:extLst>
              <a:ext uri="{FF2B5EF4-FFF2-40B4-BE49-F238E27FC236}">
                <a16:creationId xmlns:a16="http://schemas.microsoft.com/office/drawing/2014/main" id="{385A3E9A-29AA-9DFC-72EE-417483ECCFA4}"/>
              </a:ext>
            </a:extLst>
          </p:cNvPr>
          <p:cNvSpPr txBox="1"/>
          <p:nvPr/>
        </p:nvSpPr>
        <p:spPr>
          <a:xfrm>
            <a:off x="4293713" y="1195055"/>
            <a:ext cx="15336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 months</a:t>
            </a:r>
          </a:p>
        </p:txBody>
      </p:sp>
      <p:sp>
        <p:nvSpPr>
          <p:cNvPr id="540" name="TextBox 539">
            <a:extLst>
              <a:ext uri="{FF2B5EF4-FFF2-40B4-BE49-F238E27FC236}">
                <a16:creationId xmlns:a16="http://schemas.microsoft.com/office/drawing/2014/main" id="{4CE537D0-BEC2-3FD1-D3C3-C76B799B6A08}"/>
              </a:ext>
            </a:extLst>
          </p:cNvPr>
          <p:cNvSpPr txBox="1"/>
          <p:nvPr/>
        </p:nvSpPr>
        <p:spPr>
          <a:xfrm>
            <a:off x="4659887" y="1575011"/>
            <a:ext cx="691298" cy="2769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B8A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1%</a:t>
            </a:r>
          </a:p>
        </p:txBody>
      </p:sp>
      <p:sp>
        <p:nvSpPr>
          <p:cNvPr id="539" name="TextBox 538">
            <a:extLst>
              <a:ext uri="{FF2B5EF4-FFF2-40B4-BE49-F238E27FC236}">
                <a16:creationId xmlns:a16="http://schemas.microsoft.com/office/drawing/2014/main" id="{D36413AD-283A-8413-7281-1891D1EB212A}"/>
              </a:ext>
            </a:extLst>
          </p:cNvPr>
          <p:cNvSpPr txBox="1"/>
          <p:nvPr/>
        </p:nvSpPr>
        <p:spPr>
          <a:xfrm>
            <a:off x="4590762" y="2122846"/>
            <a:ext cx="514370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959595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1%</a:t>
            </a:r>
          </a:p>
        </p:txBody>
      </p:sp>
      <p:sp>
        <p:nvSpPr>
          <p:cNvPr id="547" name="TextBox 546">
            <a:extLst>
              <a:ext uri="{FF2B5EF4-FFF2-40B4-BE49-F238E27FC236}">
                <a16:creationId xmlns:a16="http://schemas.microsoft.com/office/drawing/2014/main" id="{1212A325-12F4-5DD5-82C1-F7C60C8DFE63}"/>
              </a:ext>
            </a:extLst>
          </p:cNvPr>
          <p:cNvSpPr txBox="1"/>
          <p:nvPr/>
        </p:nvSpPr>
        <p:spPr>
          <a:xfrm>
            <a:off x="5057034" y="2788884"/>
            <a:ext cx="1169966" cy="430887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dian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7 months</a:t>
            </a:r>
          </a:p>
        </p:txBody>
      </p:sp>
      <p:sp>
        <p:nvSpPr>
          <p:cNvPr id="550" name="TextBox 549">
            <a:extLst>
              <a:ext uri="{FF2B5EF4-FFF2-40B4-BE49-F238E27FC236}">
                <a16:creationId xmlns:a16="http://schemas.microsoft.com/office/drawing/2014/main" id="{3E2DFFF7-F265-9F60-516B-B6FD24AA35C1}"/>
              </a:ext>
            </a:extLst>
          </p:cNvPr>
          <p:cNvSpPr txBox="1"/>
          <p:nvPr/>
        </p:nvSpPr>
        <p:spPr>
          <a:xfrm>
            <a:off x="5546317" y="1518080"/>
            <a:ext cx="1011915" cy="43088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dian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t reached</a:t>
            </a:r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85256F8C-36D5-9617-E26D-F09208CDE3F2}"/>
              </a:ext>
            </a:extLst>
          </p:cNvPr>
          <p:cNvSpPr txBox="1">
            <a:spLocks/>
          </p:cNvSpPr>
          <p:nvPr/>
        </p:nvSpPr>
        <p:spPr>
          <a:xfrm>
            <a:off x="169748" y="145056"/>
            <a:ext cx="10852928" cy="722312"/>
          </a:xfrm>
          <a:prstGeom prst="rect">
            <a:avLst/>
          </a:prstGeom>
        </p:spPr>
        <p:txBody>
          <a:bodyPr vert="horz" lIns="72000" tIns="72000" rIns="0" bIns="0" rtlCol="0" anchor="t" anchorCtr="0">
            <a:normAutofit/>
          </a:bodyPr>
          <a:lstStyle>
            <a:lvl1pPr algn="l" defTabSz="12191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DREAMM-8: Significant PFS Benefit with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BPd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vs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PVd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2" name="object 37">
            <a:extLst>
              <a:ext uri="{FF2B5EF4-FFF2-40B4-BE49-F238E27FC236}">
                <a16:creationId xmlns:a16="http://schemas.microsoft.com/office/drawing/2014/main" id="{CA0DE9B9-3D9C-14D0-8327-6E8185F94F2D}"/>
              </a:ext>
            </a:extLst>
          </p:cNvPr>
          <p:cNvSpPr txBox="1"/>
          <p:nvPr/>
        </p:nvSpPr>
        <p:spPr>
          <a:xfrm>
            <a:off x="179168" y="6611870"/>
            <a:ext cx="11875941" cy="145339"/>
          </a:xfrm>
          <a:prstGeom prst="rect">
            <a:avLst/>
          </a:prstGeom>
        </p:spPr>
        <p:txBody>
          <a:bodyPr vert="horz" wrap="square" lIns="0" tIns="6773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mopoulo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A, et al.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N Engl J Med. 2024 Aug 1;391(5):408-421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931AF7C-5F83-14E8-6FA7-D07B76BE2298}"/>
              </a:ext>
            </a:extLst>
          </p:cNvPr>
          <p:cNvSpPr txBox="1"/>
          <p:nvPr/>
        </p:nvSpPr>
        <p:spPr>
          <a:xfrm>
            <a:off x="144966" y="6490010"/>
            <a:ext cx="33927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Thanos C Dimopoulos, MD</a:t>
            </a:r>
          </a:p>
        </p:txBody>
      </p:sp>
    </p:spTree>
    <p:extLst>
      <p:ext uri="{BB962C8B-B14F-4D97-AF65-F5344CB8AC3E}">
        <p14:creationId xmlns:p14="http://schemas.microsoft.com/office/powerpoint/2010/main" val="1010005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>
            <a:extLst>
              <a:ext uri="{FF2B5EF4-FFF2-40B4-BE49-F238E27FC236}">
                <a16:creationId xmlns:a16="http://schemas.microsoft.com/office/drawing/2014/main" id="{6A4767AB-87E4-FE2B-CEAA-FB44A27F25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508" y="344348"/>
            <a:ext cx="11108915" cy="443198"/>
          </a:xfrm>
        </p:spPr>
        <p:txBody>
          <a:bodyPr/>
          <a:lstStyle/>
          <a:p>
            <a:r>
              <a:rPr lang="en-US" sz="3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EAMM-7: Bela-</a:t>
            </a:r>
            <a:r>
              <a:rPr lang="en-US" sz="3200" dirty="0" err="1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d</a:t>
            </a:r>
            <a:r>
              <a:rPr lang="en-US" sz="3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s Dara-</a:t>
            </a:r>
            <a:r>
              <a:rPr lang="en-US" sz="3200" dirty="0" err="1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d</a:t>
            </a:r>
            <a:r>
              <a:rPr lang="en-US" sz="3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Study Design</a:t>
            </a:r>
            <a:endParaRPr lang="el-GR" sz="320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: Rounded Corners 11">
            <a:extLst>
              <a:ext uri="{FF2B5EF4-FFF2-40B4-BE49-F238E27FC236}">
                <a16:creationId xmlns:a16="http://schemas.microsoft.com/office/drawing/2014/main" id="{D7F624F6-F4AE-F340-FF85-E75638894378}"/>
              </a:ext>
            </a:extLst>
          </p:cNvPr>
          <p:cNvSpPr/>
          <p:nvPr/>
        </p:nvSpPr>
        <p:spPr>
          <a:xfrm>
            <a:off x="365125" y="1278684"/>
            <a:ext cx="11461749" cy="4626905"/>
          </a:xfrm>
          <a:prstGeom prst="roundRect">
            <a:avLst>
              <a:gd name="adj" fmla="val 5521"/>
            </a:avLst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Noto San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8E47F3B-3BC3-045F-B675-40D2DDBB7986}"/>
              </a:ext>
            </a:extLst>
          </p:cNvPr>
          <p:cNvSpPr txBox="1"/>
          <p:nvPr/>
        </p:nvSpPr>
        <p:spPr>
          <a:xfrm>
            <a:off x="413040" y="3808941"/>
            <a:ext cx="1588794" cy="608063"/>
          </a:xfrm>
          <a:prstGeom prst="rect">
            <a:avLst/>
          </a:prstGeom>
          <a:noFill/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494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</a:b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patients with 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</a:b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≥1 prior lines of therapy</a:t>
            </a:r>
          </a:p>
        </p:txBody>
      </p:sp>
      <p:cxnSp>
        <p:nvCxnSpPr>
          <p:cNvPr id="15" name="Straight Arrow Connector 94">
            <a:extLst>
              <a:ext uri="{FF2B5EF4-FFF2-40B4-BE49-F238E27FC236}">
                <a16:creationId xmlns:a16="http://schemas.microsoft.com/office/drawing/2014/main" id="{2DD45370-38C5-FD17-B7AC-C02D3FA4853A}"/>
              </a:ext>
            </a:extLst>
          </p:cNvPr>
          <p:cNvCxnSpPr>
            <a:cxnSpLocks/>
            <a:stCxn id="34" idx="0"/>
            <a:endCxn id="42" idx="1"/>
          </p:cNvCxnSpPr>
          <p:nvPr/>
        </p:nvCxnSpPr>
        <p:spPr>
          <a:xfrm flipV="1">
            <a:off x="2201251" y="2559259"/>
            <a:ext cx="920801" cy="652704"/>
          </a:xfrm>
          <a:prstGeom prst="straightConnector1">
            <a:avLst/>
          </a:prstGeom>
          <a:ln w="12700" cap="flat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95">
            <a:extLst>
              <a:ext uri="{FF2B5EF4-FFF2-40B4-BE49-F238E27FC236}">
                <a16:creationId xmlns:a16="http://schemas.microsoft.com/office/drawing/2014/main" id="{8AB825CA-4C8D-EABC-4015-B2AF355665C3}"/>
              </a:ext>
            </a:extLst>
          </p:cNvPr>
          <p:cNvCxnSpPr>
            <a:cxnSpLocks/>
            <a:stCxn id="34" idx="2"/>
            <a:endCxn id="50" idx="1"/>
          </p:cNvCxnSpPr>
          <p:nvPr/>
        </p:nvCxnSpPr>
        <p:spPr>
          <a:xfrm>
            <a:off x="2201251" y="3579706"/>
            <a:ext cx="920802" cy="652704"/>
          </a:xfrm>
          <a:prstGeom prst="straightConnector1">
            <a:avLst/>
          </a:prstGeom>
          <a:ln w="12700" cap="flat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01">
            <a:extLst>
              <a:ext uri="{FF2B5EF4-FFF2-40B4-BE49-F238E27FC236}">
                <a16:creationId xmlns:a16="http://schemas.microsoft.com/office/drawing/2014/main" id="{DB657768-905D-8B96-16D7-F3A9DD385ECC}"/>
              </a:ext>
            </a:extLst>
          </p:cNvPr>
          <p:cNvCxnSpPr>
            <a:cxnSpLocks/>
          </p:cNvCxnSpPr>
          <p:nvPr/>
        </p:nvCxnSpPr>
        <p:spPr>
          <a:xfrm>
            <a:off x="1120854" y="4747205"/>
            <a:ext cx="10401341" cy="0"/>
          </a:xfrm>
          <a:prstGeom prst="line">
            <a:avLst/>
          </a:prstGeom>
          <a:ln w="12700" cap="flat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46A47E4D-E9A1-894A-F5C9-40B9ECCBA45A}"/>
              </a:ext>
            </a:extLst>
          </p:cNvPr>
          <p:cNvSpPr txBox="1"/>
          <p:nvPr/>
        </p:nvSpPr>
        <p:spPr>
          <a:xfrm>
            <a:off x="657304" y="4994717"/>
            <a:ext cx="953945" cy="291304"/>
          </a:xfrm>
          <a:prstGeom prst="rect">
            <a:avLst/>
          </a:prstGeom>
          <a:noFill/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Screening 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</a:b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and enrollme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6CD5667-FBCE-48CE-A554-5B87C9D400B0}"/>
              </a:ext>
            </a:extLst>
          </p:cNvPr>
          <p:cNvSpPr txBox="1"/>
          <p:nvPr/>
        </p:nvSpPr>
        <p:spPr>
          <a:xfrm>
            <a:off x="1574652" y="5011646"/>
            <a:ext cx="1380886" cy="291304"/>
          </a:xfrm>
          <a:prstGeom prst="rect">
            <a:avLst/>
          </a:prstGeom>
          <a:noFill/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Randomiz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62F2EAE-F772-5BD0-C8D5-7E03AADA92B2}"/>
              </a:ext>
            </a:extLst>
          </p:cNvPr>
          <p:cNvSpPr txBox="1"/>
          <p:nvPr/>
        </p:nvSpPr>
        <p:spPr>
          <a:xfrm>
            <a:off x="1946419" y="5154508"/>
            <a:ext cx="4908641" cy="751081"/>
          </a:xfrm>
          <a:prstGeom prst="rect">
            <a:avLst/>
          </a:prstGeom>
          <a:noFill/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Bor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 (1.3 mg/m</a:t>
            </a:r>
            <a:r>
              <a: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 on D1, 4, 8, 11; C1–8)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</a:b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Dex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 (20 mg on the day of, and day after, bortezomib; C1–8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FF280DD-2D5D-37B6-FB3B-DA13EC62E41E}"/>
              </a:ext>
            </a:extLst>
          </p:cNvPr>
          <p:cNvSpPr txBox="1"/>
          <p:nvPr/>
        </p:nvSpPr>
        <p:spPr>
          <a:xfrm>
            <a:off x="7862338" y="4717092"/>
            <a:ext cx="3791294" cy="551654"/>
          </a:xfrm>
          <a:prstGeom prst="rect">
            <a:avLst/>
          </a:prstGeom>
          <a:noFill/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241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89C235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Treatment period: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Until PD, death, unacceptable toxicity, withdrawal of consent, or end of study</a:t>
            </a:r>
          </a:p>
        </p:txBody>
      </p:sp>
      <p:cxnSp>
        <p:nvCxnSpPr>
          <p:cNvPr id="24" name="Straight Arrow Connector 114">
            <a:extLst>
              <a:ext uri="{FF2B5EF4-FFF2-40B4-BE49-F238E27FC236}">
                <a16:creationId xmlns:a16="http://schemas.microsoft.com/office/drawing/2014/main" id="{58CB0EB3-956D-681D-BA53-2DAED99732A0}"/>
              </a:ext>
            </a:extLst>
          </p:cNvPr>
          <p:cNvCxnSpPr>
            <a:cxnSpLocks/>
          </p:cNvCxnSpPr>
          <p:nvPr/>
        </p:nvCxnSpPr>
        <p:spPr>
          <a:xfrm flipV="1">
            <a:off x="1134276" y="4778597"/>
            <a:ext cx="0" cy="203200"/>
          </a:xfrm>
          <a:prstGeom prst="straightConnector1">
            <a:avLst/>
          </a:prstGeom>
          <a:ln w="12700" cap="flat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116">
            <a:extLst>
              <a:ext uri="{FF2B5EF4-FFF2-40B4-BE49-F238E27FC236}">
                <a16:creationId xmlns:a16="http://schemas.microsoft.com/office/drawing/2014/main" id="{D43E1EDD-C596-495A-5D79-9D0150C5C9C1}"/>
              </a:ext>
            </a:extLst>
          </p:cNvPr>
          <p:cNvCxnSpPr>
            <a:cxnSpLocks/>
          </p:cNvCxnSpPr>
          <p:nvPr/>
        </p:nvCxnSpPr>
        <p:spPr>
          <a:xfrm flipV="1">
            <a:off x="2243775" y="4785744"/>
            <a:ext cx="0" cy="203200"/>
          </a:xfrm>
          <a:prstGeom prst="straightConnector1">
            <a:avLst/>
          </a:prstGeom>
          <a:ln w="12700" cap="flat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117">
            <a:extLst>
              <a:ext uri="{FF2B5EF4-FFF2-40B4-BE49-F238E27FC236}">
                <a16:creationId xmlns:a16="http://schemas.microsoft.com/office/drawing/2014/main" id="{4286FB23-C886-B2AF-A3EC-A338CD500755}"/>
              </a:ext>
            </a:extLst>
          </p:cNvPr>
          <p:cNvCxnSpPr>
            <a:cxnSpLocks/>
          </p:cNvCxnSpPr>
          <p:nvPr/>
        </p:nvCxnSpPr>
        <p:spPr>
          <a:xfrm flipV="1">
            <a:off x="3444415" y="4778597"/>
            <a:ext cx="0" cy="203200"/>
          </a:xfrm>
          <a:prstGeom prst="straightConnector1">
            <a:avLst/>
          </a:prstGeom>
          <a:ln w="12700" cap="flat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100">
            <a:extLst>
              <a:ext uri="{FF2B5EF4-FFF2-40B4-BE49-F238E27FC236}">
                <a16:creationId xmlns:a16="http://schemas.microsoft.com/office/drawing/2014/main" id="{4685B50B-F204-D3CF-4A00-81498A611080}"/>
              </a:ext>
            </a:extLst>
          </p:cNvPr>
          <p:cNvGrpSpPr/>
          <p:nvPr/>
        </p:nvGrpSpPr>
        <p:grpSpPr>
          <a:xfrm>
            <a:off x="865188" y="2673323"/>
            <a:ext cx="716122" cy="903938"/>
            <a:chOff x="1249243" y="2535093"/>
            <a:chExt cx="716122" cy="903938"/>
          </a:xfrm>
          <a:solidFill>
            <a:schemeClr val="accent1">
              <a:lumMod val="60000"/>
              <a:lumOff val="40000"/>
            </a:schemeClr>
          </a:solidFill>
        </p:grpSpPr>
        <p:pic>
          <p:nvPicPr>
            <p:cNvPr id="28" name="Graphic 16">
              <a:extLst>
                <a:ext uri="{FF2B5EF4-FFF2-40B4-BE49-F238E27FC236}">
                  <a16:creationId xmlns:a16="http://schemas.microsoft.com/office/drawing/2014/main" id="{31B73E68-918E-5DAE-E7BE-AB2F0553606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762165" y="2535093"/>
              <a:ext cx="203200" cy="457200"/>
            </a:xfrm>
            <a:prstGeom prst="rect">
              <a:avLst/>
            </a:prstGeom>
          </p:spPr>
        </p:pic>
        <p:pic>
          <p:nvPicPr>
            <p:cNvPr id="29" name="Graphic 17">
              <a:extLst>
                <a:ext uri="{FF2B5EF4-FFF2-40B4-BE49-F238E27FC236}">
                  <a16:creationId xmlns:a16="http://schemas.microsoft.com/office/drawing/2014/main" id="{F2587170-2653-B321-717D-D72D94E6BB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388308" y="2535093"/>
              <a:ext cx="203200" cy="457200"/>
            </a:xfrm>
            <a:prstGeom prst="rect">
              <a:avLst/>
            </a:prstGeom>
          </p:spPr>
        </p:pic>
        <p:pic>
          <p:nvPicPr>
            <p:cNvPr id="30" name="Graphic 19">
              <a:extLst>
                <a:ext uri="{FF2B5EF4-FFF2-40B4-BE49-F238E27FC236}">
                  <a16:creationId xmlns:a16="http://schemas.microsoft.com/office/drawing/2014/main" id="{0CAC930D-9F8F-4C1A-0E97-7E24C13828C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712258" y="2981831"/>
              <a:ext cx="203200" cy="457200"/>
            </a:xfrm>
            <a:prstGeom prst="rect">
              <a:avLst/>
            </a:prstGeom>
          </p:spPr>
        </p:pic>
        <p:pic>
          <p:nvPicPr>
            <p:cNvPr id="31" name="Graphic 20">
              <a:extLst>
                <a:ext uri="{FF2B5EF4-FFF2-40B4-BE49-F238E27FC236}">
                  <a16:creationId xmlns:a16="http://schemas.microsoft.com/office/drawing/2014/main" id="{F0FA4FB7-9C3D-A992-8CDB-288F69EB3E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49243" y="2878382"/>
              <a:ext cx="203200" cy="457200"/>
            </a:xfrm>
            <a:prstGeom prst="rect">
              <a:avLst/>
            </a:prstGeom>
          </p:spPr>
        </p:pic>
        <p:pic>
          <p:nvPicPr>
            <p:cNvPr id="32" name="Graphic 6">
              <a:extLst>
                <a:ext uri="{FF2B5EF4-FFF2-40B4-BE49-F238E27FC236}">
                  <a16:creationId xmlns:a16="http://schemas.microsoft.com/office/drawing/2014/main" id="{080CF82A-3F27-054D-E00F-50853711270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591492" y="2627818"/>
              <a:ext cx="203200" cy="457200"/>
            </a:xfrm>
            <a:prstGeom prst="rect">
              <a:avLst/>
            </a:prstGeom>
          </p:spPr>
        </p:pic>
        <p:pic>
          <p:nvPicPr>
            <p:cNvPr id="33" name="Graphic 7">
              <a:extLst>
                <a:ext uri="{FF2B5EF4-FFF2-40B4-BE49-F238E27FC236}">
                  <a16:creationId xmlns:a16="http://schemas.microsoft.com/office/drawing/2014/main" id="{CF179CEA-A3E4-68CA-FF70-11E825D9B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483182" y="2981831"/>
              <a:ext cx="203200" cy="457200"/>
            </a:xfrm>
            <a:prstGeom prst="rect">
              <a:avLst/>
            </a:prstGeom>
          </p:spPr>
        </p:pic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EBA2D34C-DA2E-3851-2EFC-25215643C6C9}"/>
              </a:ext>
            </a:extLst>
          </p:cNvPr>
          <p:cNvSpPr txBox="1"/>
          <p:nvPr/>
        </p:nvSpPr>
        <p:spPr>
          <a:xfrm>
            <a:off x="1882284" y="3211963"/>
            <a:ext cx="637933" cy="367743"/>
          </a:xfrm>
          <a:prstGeom prst="rect">
            <a:avLst/>
          </a:prstGeom>
          <a:noFill/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: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Noto Sans"/>
            </a:endParaRPr>
          </a:p>
        </p:txBody>
      </p:sp>
      <p:grpSp>
        <p:nvGrpSpPr>
          <p:cNvPr id="35" name="Group 43">
            <a:extLst>
              <a:ext uri="{FF2B5EF4-FFF2-40B4-BE49-F238E27FC236}">
                <a16:creationId xmlns:a16="http://schemas.microsoft.com/office/drawing/2014/main" id="{4346D074-8963-57A1-7024-44569F1D706C}"/>
              </a:ext>
            </a:extLst>
          </p:cNvPr>
          <p:cNvGrpSpPr/>
          <p:nvPr/>
        </p:nvGrpSpPr>
        <p:grpSpPr>
          <a:xfrm>
            <a:off x="3750164" y="1693789"/>
            <a:ext cx="1293812" cy="457200"/>
            <a:chOff x="3824328" y="2071687"/>
            <a:chExt cx="1293812" cy="457200"/>
          </a:xfrm>
        </p:grpSpPr>
        <p:pic>
          <p:nvPicPr>
            <p:cNvPr id="36" name="Graphic 21">
              <a:extLst>
                <a:ext uri="{FF2B5EF4-FFF2-40B4-BE49-F238E27FC236}">
                  <a16:creationId xmlns:a16="http://schemas.microsoft.com/office/drawing/2014/main" id="{87789C35-F746-CCA6-1B25-826C90DAB67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824328" y="2071687"/>
              <a:ext cx="203200" cy="457200"/>
            </a:xfrm>
            <a:prstGeom prst="rect">
              <a:avLst/>
            </a:prstGeom>
          </p:spPr>
        </p:pic>
        <p:pic>
          <p:nvPicPr>
            <p:cNvPr id="37" name="Graphic 22">
              <a:extLst>
                <a:ext uri="{FF2B5EF4-FFF2-40B4-BE49-F238E27FC236}">
                  <a16:creationId xmlns:a16="http://schemas.microsoft.com/office/drawing/2014/main" id="{D639FB65-575A-C7A6-B98E-B455B6EA109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042450" y="2071687"/>
              <a:ext cx="203200" cy="457200"/>
            </a:xfrm>
            <a:prstGeom prst="rect">
              <a:avLst/>
            </a:prstGeom>
          </p:spPr>
        </p:pic>
        <p:pic>
          <p:nvPicPr>
            <p:cNvPr id="38" name="Graphic 24">
              <a:extLst>
                <a:ext uri="{FF2B5EF4-FFF2-40B4-BE49-F238E27FC236}">
                  <a16:creationId xmlns:a16="http://schemas.microsoft.com/office/drawing/2014/main" id="{385D79A3-B6A8-F82C-5A17-9CB6C37E086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260572" y="2071687"/>
              <a:ext cx="203200" cy="457200"/>
            </a:xfrm>
            <a:prstGeom prst="rect">
              <a:avLst/>
            </a:prstGeom>
          </p:spPr>
        </p:pic>
        <p:pic>
          <p:nvPicPr>
            <p:cNvPr id="39" name="Graphic 26">
              <a:extLst>
                <a:ext uri="{FF2B5EF4-FFF2-40B4-BE49-F238E27FC236}">
                  <a16:creationId xmlns:a16="http://schemas.microsoft.com/office/drawing/2014/main" id="{FB2C6CB7-9027-FB32-1672-F5DD6788656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478694" y="2071687"/>
              <a:ext cx="203200" cy="457200"/>
            </a:xfrm>
            <a:prstGeom prst="rect">
              <a:avLst/>
            </a:prstGeom>
          </p:spPr>
        </p:pic>
        <p:pic>
          <p:nvPicPr>
            <p:cNvPr id="40" name="Graphic 27">
              <a:extLst>
                <a:ext uri="{FF2B5EF4-FFF2-40B4-BE49-F238E27FC236}">
                  <a16:creationId xmlns:a16="http://schemas.microsoft.com/office/drawing/2014/main" id="{C4CF9723-923A-7FDA-FD59-DC1CA1AE56A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696816" y="2071687"/>
              <a:ext cx="203200" cy="457200"/>
            </a:xfrm>
            <a:prstGeom prst="rect">
              <a:avLst/>
            </a:prstGeom>
          </p:spPr>
        </p:pic>
        <p:pic>
          <p:nvPicPr>
            <p:cNvPr id="41" name="Graphic 28">
              <a:extLst>
                <a:ext uri="{FF2B5EF4-FFF2-40B4-BE49-F238E27FC236}">
                  <a16:creationId xmlns:a16="http://schemas.microsoft.com/office/drawing/2014/main" id="{2BB99E75-0721-0CAB-8D97-BE49513E79B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914940" y="2071687"/>
              <a:ext cx="203200" cy="457200"/>
            </a:xfrm>
            <a:prstGeom prst="rect">
              <a:avLst/>
            </a:prstGeom>
          </p:spPr>
        </p:pic>
      </p:grpSp>
      <p:sp>
        <p:nvSpPr>
          <p:cNvPr id="42" name="Rectangle: Rounded Corners 12">
            <a:extLst>
              <a:ext uri="{FF2B5EF4-FFF2-40B4-BE49-F238E27FC236}">
                <a16:creationId xmlns:a16="http://schemas.microsoft.com/office/drawing/2014/main" id="{7E2F6094-E0C9-3735-A76A-C2F5C4F9813A}"/>
              </a:ext>
            </a:extLst>
          </p:cNvPr>
          <p:cNvSpPr/>
          <p:nvPr/>
        </p:nvSpPr>
        <p:spPr bwMode="auto">
          <a:xfrm>
            <a:off x="3122052" y="2207215"/>
            <a:ext cx="2514682" cy="704088"/>
          </a:xfrm>
          <a:prstGeom prst="roundRect">
            <a:avLst>
              <a:gd name="adj" fmla="val 13074"/>
            </a:avLst>
          </a:prstGeom>
          <a:solidFill>
            <a:schemeClr val="tx2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60960" rIns="6096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99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sv-SE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 </a:t>
            </a:r>
            <a:r>
              <a:rPr kumimoji="0" lang="sv-SE" sz="14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BVd</a:t>
            </a:r>
            <a:br>
              <a:rPr kumimoji="0" lang="sv-SE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</a:b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Belamaf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 (IV 2.5 mg/kg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D1 Q3W)</a:t>
            </a:r>
            <a:endParaRPr kumimoji="0" lang="sv-SE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Noto Sans"/>
            </a:endParaRPr>
          </a:p>
        </p:txBody>
      </p:sp>
      <p:grpSp>
        <p:nvGrpSpPr>
          <p:cNvPr id="43" name="Group 41">
            <a:extLst>
              <a:ext uri="{FF2B5EF4-FFF2-40B4-BE49-F238E27FC236}">
                <a16:creationId xmlns:a16="http://schemas.microsoft.com/office/drawing/2014/main" id="{23FFB9AC-6E44-1B56-5CEE-37A93BCC3AC9}"/>
              </a:ext>
            </a:extLst>
          </p:cNvPr>
          <p:cNvGrpSpPr/>
          <p:nvPr/>
        </p:nvGrpSpPr>
        <p:grpSpPr>
          <a:xfrm>
            <a:off x="3750165" y="3339866"/>
            <a:ext cx="1293812" cy="457200"/>
            <a:chOff x="3824328" y="3281361"/>
            <a:chExt cx="1293812" cy="457200"/>
          </a:xfrm>
        </p:grpSpPr>
        <p:pic>
          <p:nvPicPr>
            <p:cNvPr id="44" name="Graphic 35">
              <a:extLst>
                <a:ext uri="{FF2B5EF4-FFF2-40B4-BE49-F238E27FC236}">
                  <a16:creationId xmlns:a16="http://schemas.microsoft.com/office/drawing/2014/main" id="{8991AE19-B29C-394E-85CE-D84234540D0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824328" y="3281361"/>
              <a:ext cx="203200" cy="457200"/>
            </a:xfrm>
            <a:prstGeom prst="rect">
              <a:avLst/>
            </a:prstGeom>
          </p:spPr>
        </p:pic>
        <p:pic>
          <p:nvPicPr>
            <p:cNvPr id="45" name="Graphic 36">
              <a:extLst>
                <a:ext uri="{FF2B5EF4-FFF2-40B4-BE49-F238E27FC236}">
                  <a16:creationId xmlns:a16="http://schemas.microsoft.com/office/drawing/2014/main" id="{87741BB4-34C3-9559-3477-035D0B9D876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042450" y="3281361"/>
              <a:ext cx="203200" cy="457200"/>
            </a:xfrm>
            <a:prstGeom prst="rect">
              <a:avLst/>
            </a:prstGeom>
          </p:spPr>
        </p:pic>
        <p:pic>
          <p:nvPicPr>
            <p:cNvPr id="46" name="Graphic 37">
              <a:extLst>
                <a:ext uri="{FF2B5EF4-FFF2-40B4-BE49-F238E27FC236}">
                  <a16:creationId xmlns:a16="http://schemas.microsoft.com/office/drawing/2014/main" id="{4A21E874-7C02-F62A-25C0-FB38D5045F4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260572" y="3281361"/>
              <a:ext cx="203200" cy="457200"/>
            </a:xfrm>
            <a:prstGeom prst="rect">
              <a:avLst/>
            </a:prstGeom>
          </p:spPr>
        </p:pic>
        <p:pic>
          <p:nvPicPr>
            <p:cNvPr id="47" name="Graphic 38">
              <a:extLst>
                <a:ext uri="{FF2B5EF4-FFF2-40B4-BE49-F238E27FC236}">
                  <a16:creationId xmlns:a16="http://schemas.microsoft.com/office/drawing/2014/main" id="{F9210FD6-EFFA-E7A1-AAB4-EFAD5A33D75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478694" y="3281361"/>
              <a:ext cx="203200" cy="457200"/>
            </a:xfrm>
            <a:prstGeom prst="rect">
              <a:avLst/>
            </a:prstGeom>
          </p:spPr>
        </p:pic>
        <p:pic>
          <p:nvPicPr>
            <p:cNvPr id="48" name="Graphic 39">
              <a:extLst>
                <a:ext uri="{FF2B5EF4-FFF2-40B4-BE49-F238E27FC236}">
                  <a16:creationId xmlns:a16="http://schemas.microsoft.com/office/drawing/2014/main" id="{7C6733DE-C0EE-85ED-9C5E-18D76E18847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696816" y="3281361"/>
              <a:ext cx="203200" cy="457200"/>
            </a:xfrm>
            <a:prstGeom prst="rect">
              <a:avLst/>
            </a:prstGeom>
          </p:spPr>
        </p:pic>
        <p:pic>
          <p:nvPicPr>
            <p:cNvPr id="49" name="Graphic 40">
              <a:extLst>
                <a:ext uri="{FF2B5EF4-FFF2-40B4-BE49-F238E27FC236}">
                  <a16:creationId xmlns:a16="http://schemas.microsoft.com/office/drawing/2014/main" id="{6DDBF235-4A6E-67C3-A2A9-0F6849C98FD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914940" y="3281361"/>
              <a:ext cx="203200" cy="457200"/>
            </a:xfrm>
            <a:prstGeom prst="rect">
              <a:avLst/>
            </a:prstGeom>
          </p:spPr>
        </p:pic>
      </p:grpSp>
      <p:sp>
        <p:nvSpPr>
          <p:cNvPr id="50" name="Rectangle: Rounded Corners 13">
            <a:extLst>
              <a:ext uri="{FF2B5EF4-FFF2-40B4-BE49-F238E27FC236}">
                <a16:creationId xmlns:a16="http://schemas.microsoft.com/office/drawing/2014/main" id="{936D22DC-3948-7740-C34B-CCA78B3D148F}"/>
              </a:ext>
            </a:extLst>
          </p:cNvPr>
          <p:cNvSpPr/>
          <p:nvPr/>
        </p:nvSpPr>
        <p:spPr bwMode="auto">
          <a:xfrm>
            <a:off x="3122053" y="3880366"/>
            <a:ext cx="2514682" cy="704088"/>
          </a:xfrm>
          <a:prstGeom prst="roundRect">
            <a:avLst>
              <a:gd name="adj" fmla="val 13972"/>
            </a:avLst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60960" rIns="6096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99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sv-SE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DVd</a:t>
            </a:r>
          </a:p>
          <a:p>
            <a:pPr marL="0" marR="0" lvl="0" indent="0" algn="ctr" defTabSz="121899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Daratumumab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 (IV 16 mg/kg D1 C1–3 QW; C4–8 Q3W)</a:t>
            </a:r>
          </a:p>
        </p:txBody>
      </p:sp>
      <p:sp>
        <p:nvSpPr>
          <p:cNvPr id="51" name="Rectangle: Rounded Corners 115">
            <a:extLst>
              <a:ext uri="{FF2B5EF4-FFF2-40B4-BE49-F238E27FC236}">
                <a16:creationId xmlns:a16="http://schemas.microsoft.com/office/drawing/2014/main" id="{1683DBA3-41F3-2C2F-F41E-80373D421BB7}"/>
              </a:ext>
            </a:extLst>
          </p:cNvPr>
          <p:cNvSpPr/>
          <p:nvPr/>
        </p:nvSpPr>
        <p:spPr bwMode="auto">
          <a:xfrm>
            <a:off x="595049" y="1562669"/>
            <a:ext cx="3008077" cy="869177"/>
          </a:xfrm>
          <a:prstGeom prst="roundRect">
            <a:avLst/>
          </a:prstGeom>
          <a:noFill/>
          <a:ln w="12700">
            <a:noFill/>
          </a:ln>
        </p:spPr>
        <p:txBody>
          <a:bodyPr wrap="square" anchor="ctr" anchorCtr="0">
            <a:noAutofit/>
          </a:bodyPr>
          <a:lstStyle/>
          <a:p>
            <a:pPr marL="0" marR="0" lvl="0" indent="0" algn="l" defTabSz="12191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STRATIFICATION:</a:t>
            </a:r>
          </a:p>
          <a:p>
            <a:pPr marL="182880" marR="0" lvl="0" indent="-182880" algn="l" defTabSz="12191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F36633"/>
              </a:buClr>
              <a:buSzTx/>
              <a:buFont typeface="+mj-lt"/>
              <a:buAutoNum type="arabicParenR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# of prior lines of therapy (1 vs 2/3 vs ≥4) </a:t>
            </a:r>
          </a:p>
          <a:p>
            <a:pPr marL="182880" marR="0" lvl="0" indent="-182880" algn="l" defTabSz="12191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F36633"/>
              </a:buClr>
              <a:buSzTx/>
              <a:buFont typeface="+mj-lt"/>
              <a:buAutoNum type="arabicParenR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Prior bortezomib (Yes vs No)</a:t>
            </a:r>
          </a:p>
          <a:p>
            <a:pPr marL="182880" marR="0" lvl="0" indent="-182880" algn="l" defTabSz="12191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rgbClr val="F36633"/>
              </a:buClr>
              <a:buSzTx/>
              <a:buFont typeface="+mj-lt"/>
              <a:buAutoNum type="arabicParenR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R-ISS</a:t>
            </a:r>
            <a:r>
              <a: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 </a:t>
            </a:r>
            <a:r>
              <a:rPr kumimoji="0" lang="sv-SE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Staging</a:t>
            </a:r>
            <a:r>
              <a: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 ( I vs II/III)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Noto Sans"/>
            </a:endParaRPr>
          </a:p>
        </p:txBody>
      </p:sp>
      <p:grpSp>
        <p:nvGrpSpPr>
          <p:cNvPr id="52" name="Group 123">
            <a:extLst>
              <a:ext uri="{FF2B5EF4-FFF2-40B4-BE49-F238E27FC236}">
                <a16:creationId xmlns:a16="http://schemas.microsoft.com/office/drawing/2014/main" id="{9B0D4D08-EC07-C4F0-D84D-2A3905258528}"/>
              </a:ext>
            </a:extLst>
          </p:cNvPr>
          <p:cNvGrpSpPr/>
          <p:nvPr/>
        </p:nvGrpSpPr>
        <p:grpSpPr>
          <a:xfrm>
            <a:off x="8125547" y="1562669"/>
            <a:ext cx="3584876" cy="3021785"/>
            <a:chOff x="7796440" y="1963357"/>
            <a:chExt cx="3584876" cy="3410508"/>
          </a:xfrm>
        </p:grpSpPr>
        <p:sp>
          <p:nvSpPr>
            <p:cNvPr id="53" name="Rounded Rectangle 46">
              <a:extLst>
                <a:ext uri="{FF2B5EF4-FFF2-40B4-BE49-F238E27FC236}">
                  <a16:creationId xmlns:a16="http://schemas.microsoft.com/office/drawing/2014/main" id="{B36CA1CA-EDAA-0A66-6E75-7FD704BD618F}"/>
                </a:ext>
              </a:extLst>
            </p:cNvPr>
            <p:cNvSpPr/>
            <p:nvPr/>
          </p:nvSpPr>
          <p:spPr>
            <a:xfrm>
              <a:off x="7796440" y="1963359"/>
              <a:ext cx="3584876" cy="3410506"/>
            </a:xfrm>
            <a:prstGeom prst="roundRect">
              <a:avLst>
                <a:gd name="adj" fmla="val 2574"/>
              </a:avLst>
            </a:prstGeom>
            <a:solidFill>
              <a:schemeClr val="bg1"/>
            </a:solidFill>
            <a:ln w="6350">
              <a:noFill/>
            </a:ln>
            <a:effectLst>
              <a:outerShdw blurRad="50800" dir="1080000" algn="ctr" rotWithShape="0">
                <a:srgbClr val="000000">
                  <a:alpha val="10000"/>
                </a:srgbClr>
              </a:outerShdw>
            </a:effectLst>
          </p:spPr>
          <p:txBody>
            <a:bodyPr lIns="60960" tIns="457200" rIns="0" bIns="24384">
              <a:noAutofit/>
            </a:bodyPr>
            <a:lstStyle/>
            <a:p>
              <a:pPr marL="0" marR="0" lvl="1" indent="0" algn="l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F36633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Noto Sans"/>
                </a:rPr>
                <a:t>Primary:</a:t>
              </a:r>
            </a:p>
            <a:p>
              <a:pPr marL="180000" marR="0" lvl="1" indent="-180000" algn="l" defTabSz="914241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31313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Noto Sans"/>
                </a:rPr>
                <a:t>PFS</a:t>
              </a:r>
            </a:p>
            <a:p>
              <a:pPr marL="0" marR="0" lvl="1" indent="0" algn="l" defTabSz="914241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20000"/>
                <a:buFontTx/>
                <a:buNone/>
                <a:tabLst/>
                <a:defRPr/>
              </a:pPr>
              <a:endPara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36633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endParaRPr>
            </a:p>
            <a:p>
              <a:pPr marL="0" marR="0" lvl="1" indent="0" algn="l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F36633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Noto Sans"/>
                </a:rPr>
                <a:t>Secondary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Noto Sans"/>
                </a:rPr>
                <a:t>: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endParaRPr>
            </a:p>
            <a:p>
              <a:pPr marL="0" marR="0" lvl="1" indent="0" algn="l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F36633"/>
                </a:buClr>
                <a:buSzPct val="100000"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endParaRPr>
            </a:p>
            <a:p>
              <a:pPr marL="0" marR="0" lvl="1" indent="0" algn="l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F36633"/>
                </a:buClr>
                <a:buSzPct val="100000"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endParaRPr>
            </a:p>
            <a:p>
              <a:pPr marL="0" marR="0" lvl="1" indent="0" algn="l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F36633"/>
                </a:buClr>
                <a:buSzPct val="100000"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endParaRPr>
            </a:p>
            <a:p>
              <a:pPr marL="0" marR="0" lvl="1" indent="0" algn="l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F36633"/>
                </a:buClr>
                <a:buSzPct val="100000"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endParaRPr>
            </a:p>
            <a:p>
              <a:pPr marL="0" marR="0" lvl="1" indent="0" algn="l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rgbClr val="F36633"/>
                </a:buClr>
                <a:buSzPct val="100000"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endParaRPr>
            </a:p>
          </p:txBody>
        </p:sp>
        <p:sp>
          <p:nvSpPr>
            <p:cNvPr id="54" name="Rectangle: Top Corners Rounded 125">
              <a:extLst>
                <a:ext uri="{FF2B5EF4-FFF2-40B4-BE49-F238E27FC236}">
                  <a16:creationId xmlns:a16="http://schemas.microsoft.com/office/drawing/2014/main" id="{0D430B66-1495-2990-A6AF-10DDF62297DC}"/>
                </a:ext>
              </a:extLst>
            </p:cNvPr>
            <p:cNvSpPr/>
            <p:nvPr/>
          </p:nvSpPr>
          <p:spPr bwMode="auto">
            <a:xfrm>
              <a:off x="7796440" y="1963357"/>
              <a:ext cx="3584876" cy="393560"/>
            </a:xfrm>
            <a:prstGeom prst="round2SameRect">
              <a:avLst/>
            </a:prstGeom>
            <a:solidFill>
              <a:schemeClr val="tx2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40" rtl="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Noto Sans"/>
                </a:rPr>
                <a:t>Endpoints</a:t>
              </a:r>
              <a:endParaRPr kumimoji="0" lang="en-US" sz="1600" b="1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endParaRPr>
            </a:p>
          </p:txBody>
        </p:sp>
      </p:grpSp>
      <p:graphicFrame>
        <p:nvGraphicFramePr>
          <p:cNvPr id="55" name="Table 2">
            <a:extLst>
              <a:ext uri="{FF2B5EF4-FFF2-40B4-BE49-F238E27FC236}">
                <a16:creationId xmlns:a16="http://schemas.microsoft.com/office/drawing/2014/main" id="{21400F1D-DF3F-EF88-42E8-6DF75D0A3519}"/>
              </a:ext>
            </a:extLst>
          </p:cNvPr>
          <p:cNvGraphicFramePr>
            <a:graphicFrameLocks noGrp="1"/>
          </p:cNvGraphicFramePr>
          <p:nvPr/>
        </p:nvGraphicFramePr>
        <p:xfrm>
          <a:off x="8205932" y="3035681"/>
          <a:ext cx="3772080" cy="1386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86040">
                  <a:extLst>
                    <a:ext uri="{9D8B030D-6E8A-4147-A177-3AD203B41FA5}">
                      <a16:colId xmlns:a16="http://schemas.microsoft.com/office/drawing/2014/main" val="1304102306"/>
                    </a:ext>
                  </a:extLst>
                </a:gridCol>
                <a:gridCol w="1886040">
                  <a:extLst>
                    <a:ext uri="{9D8B030D-6E8A-4147-A177-3AD203B41FA5}">
                      <a16:colId xmlns:a16="http://schemas.microsoft.com/office/drawing/2014/main" val="3239792419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marL="180000" lvl="1" indent="-180000" algn="l" defTabSz="914241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300" b="1" kern="1200" err="1">
                          <a:solidFill>
                            <a:srgbClr val="313131"/>
                          </a:solidFill>
                          <a:latin typeface="Arial" panose="020B0604020202020204"/>
                          <a:ea typeface="+mn-ea"/>
                          <a:cs typeface="+mn-cs"/>
                        </a:rPr>
                        <a:t>DoR</a:t>
                      </a:r>
                      <a:endParaRPr lang="en-US" sz="1300" b="1" kern="1200">
                        <a:solidFill>
                          <a:srgbClr val="313131"/>
                        </a:solidFill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TTP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3431646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180000" marR="0" lvl="1" indent="-18000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b="1" kern="120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MRD negativity rate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 noProof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PFS2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9459599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180000" lvl="1" indent="-180000" algn="l" defTabSz="914241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300" b="1" kern="1200">
                          <a:solidFill>
                            <a:srgbClr val="313131"/>
                          </a:solidFill>
                          <a:latin typeface="Arial" panose="020B0604020202020204"/>
                          <a:ea typeface="+mn-ea"/>
                          <a:cs typeface="+mn-cs"/>
                        </a:rPr>
                        <a:t>OS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 noProof="0">
                          <a:solidFill>
                            <a:srgbClr val="313131"/>
                          </a:solidFill>
                          <a:latin typeface="Arial" panose="020B0604020202020204"/>
                          <a:ea typeface="+mn-ea"/>
                          <a:cs typeface="+mn-cs"/>
                        </a:rPr>
                        <a:t>Safety, tolerability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126092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180000" marR="0" lvl="1" indent="-18000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CRR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>
                          <a:solidFill>
                            <a:srgbClr val="313131"/>
                          </a:solidFill>
                          <a:latin typeface="Arial" panose="020B0604020202020204"/>
                          <a:ea typeface="+mn-ea"/>
                          <a:cs typeface="+mn-cs"/>
                        </a:rPr>
                        <a:t>Ocular findings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06012086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180000" lvl="1" indent="-180000" algn="l" defTabSz="914241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300" kern="1200">
                          <a:solidFill>
                            <a:srgbClr val="313131"/>
                          </a:solidFill>
                          <a:latin typeface="Arial" panose="020B0604020202020204"/>
                          <a:ea typeface="+mn-ea"/>
                          <a:cs typeface="+mn-cs"/>
                        </a:rPr>
                        <a:t>ORR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>
                          <a:solidFill>
                            <a:srgbClr val="313131"/>
                          </a:solidFill>
                          <a:latin typeface="Arial" panose="020B0604020202020204"/>
                          <a:ea typeface="+mn-ea"/>
                          <a:cs typeface="+mn-cs"/>
                        </a:rPr>
                        <a:t>PK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7090428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180000" lvl="1" indent="-180000" algn="l" defTabSz="914241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300" kern="1200">
                          <a:solidFill>
                            <a:srgbClr val="313131"/>
                          </a:solidFill>
                          <a:latin typeface="Arial" panose="020B0604020202020204"/>
                          <a:ea typeface="+mn-ea"/>
                          <a:cs typeface="+mn-cs"/>
                        </a:rPr>
                        <a:t>CBR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ADA</a:t>
                      </a:r>
                      <a:r>
                        <a:rPr lang="en-US" sz="1300" kern="1200">
                          <a:solidFill>
                            <a:srgbClr val="313131"/>
                          </a:solidFill>
                          <a:latin typeface="Arial" panose="020B0604020202020204"/>
                          <a:ea typeface="+mn-ea"/>
                          <a:cs typeface="+mn-cs"/>
                        </a:rPr>
                        <a:t>s</a:t>
                      </a:r>
                      <a:endParaRPr lang="en-US" sz="1300" kern="120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1094926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180000" lvl="1" indent="-180000" algn="l" defTabSz="914241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300" kern="1200">
                          <a:solidFill>
                            <a:srgbClr val="313131"/>
                          </a:solidFill>
                          <a:latin typeface="Arial" panose="020B0604020202020204"/>
                          <a:ea typeface="+mn-ea"/>
                          <a:cs typeface="+mn-cs"/>
                        </a:rPr>
                        <a:t>TTR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marR="0" lvl="1" indent="-18000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300" kern="1200" dirty="0" err="1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HRQoL</a:t>
                      </a:r>
                      <a:r>
                        <a:rPr lang="en-US" sz="13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, PROs</a:t>
                      </a:r>
                    </a:p>
                  </a:txBody>
                  <a:tcPr marL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22524896"/>
                  </a:ext>
                </a:extLst>
              </a:tr>
            </a:tbl>
          </a:graphicData>
        </a:graphic>
      </p:graphicFrame>
      <p:sp>
        <p:nvSpPr>
          <p:cNvPr id="56" name="TextBox 55">
            <a:extLst>
              <a:ext uri="{FF2B5EF4-FFF2-40B4-BE49-F238E27FC236}">
                <a16:creationId xmlns:a16="http://schemas.microsoft.com/office/drawing/2014/main" id="{E214EBE8-5170-B76B-490E-0E3B0247DF4C}"/>
              </a:ext>
            </a:extLst>
          </p:cNvPr>
          <p:cNvSpPr txBox="1"/>
          <p:nvPr/>
        </p:nvSpPr>
        <p:spPr>
          <a:xfrm>
            <a:off x="2530681" y="4963313"/>
            <a:ext cx="3109403" cy="26161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Day 1 of 21-day administration cycles</a:t>
            </a:r>
          </a:p>
        </p:txBody>
      </p:sp>
      <p:sp>
        <p:nvSpPr>
          <p:cNvPr id="57" name="Rectangle: Rounded Corners 5">
            <a:extLst>
              <a:ext uri="{FF2B5EF4-FFF2-40B4-BE49-F238E27FC236}">
                <a16:creationId xmlns:a16="http://schemas.microsoft.com/office/drawing/2014/main" id="{525707B3-26B6-968F-FB8C-A1FCA8DE1757}"/>
              </a:ext>
            </a:extLst>
          </p:cNvPr>
          <p:cNvSpPr/>
          <p:nvPr/>
        </p:nvSpPr>
        <p:spPr bwMode="auto">
          <a:xfrm>
            <a:off x="5878979" y="2207215"/>
            <a:ext cx="2095430" cy="704088"/>
          </a:xfrm>
          <a:prstGeom prst="roundRect">
            <a:avLst>
              <a:gd name="adj" fmla="val 13074"/>
            </a:avLst>
          </a:prstGeom>
          <a:solidFill>
            <a:schemeClr val="tx2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60960" rIns="6096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99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Belamaf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monotherapy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 (IV 2.5 mg/kg Q3W)</a:t>
            </a:r>
            <a:endParaRPr kumimoji="0" lang="sv-SE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Noto Sans"/>
            </a:endParaRPr>
          </a:p>
        </p:txBody>
      </p:sp>
      <p:sp>
        <p:nvSpPr>
          <p:cNvPr id="58" name="Rectangle: Rounded Corners 9">
            <a:extLst>
              <a:ext uri="{FF2B5EF4-FFF2-40B4-BE49-F238E27FC236}">
                <a16:creationId xmlns:a16="http://schemas.microsoft.com/office/drawing/2014/main" id="{C458BBE2-703B-F651-B07A-B31486407EF7}"/>
              </a:ext>
            </a:extLst>
          </p:cNvPr>
          <p:cNvSpPr/>
          <p:nvPr/>
        </p:nvSpPr>
        <p:spPr bwMode="auto">
          <a:xfrm>
            <a:off x="5878981" y="3873932"/>
            <a:ext cx="2175813" cy="704088"/>
          </a:xfrm>
          <a:prstGeom prst="roundRect">
            <a:avLst>
              <a:gd name="adj" fmla="val 13972"/>
            </a:avLst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60960" rIns="6096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899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Daratumumab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monotherapy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(IV 16 mg/kg; C9 + Q4W)</a:t>
            </a:r>
          </a:p>
        </p:txBody>
      </p:sp>
      <p:cxnSp>
        <p:nvCxnSpPr>
          <p:cNvPr id="59" name="Straight Arrow Connector 18">
            <a:extLst>
              <a:ext uri="{FF2B5EF4-FFF2-40B4-BE49-F238E27FC236}">
                <a16:creationId xmlns:a16="http://schemas.microsoft.com/office/drawing/2014/main" id="{1EA41D1C-B54D-4D3C-EDD7-144BD4F6E316}"/>
              </a:ext>
            </a:extLst>
          </p:cNvPr>
          <p:cNvCxnSpPr>
            <a:cxnSpLocks/>
            <a:stCxn id="42" idx="3"/>
            <a:endCxn id="57" idx="1"/>
          </p:cNvCxnSpPr>
          <p:nvPr/>
        </p:nvCxnSpPr>
        <p:spPr>
          <a:xfrm>
            <a:off x="5636734" y="2559259"/>
            <a:ext cx="242245" cy="0"/>
          </a:xfrm>
          <a:prstGeom prst="straightConnector1">
            <a:avLst/>
          </a:prstGeom>
          <a:ln w="12700" cap="flat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30">
            <a:extLst>
              <a:ext uri="{FF2B5EF4-FFF2-40B4-BE49-F238E27FC236}">
                <a16:creationId xmlns:a16="http://schemas.microsoft.com/office/drawing/2014/main" id="{22E9E186-F363-307E-E2F1-8A0DA6B31033}"/>
              </a:ext>
            </a:extLst>
          </p:cNvPr>
          <p:cNvCxnSpPr>
            <a:cxnSpLocks/>
            <a:stCxn id="50" idx="3"/>
            <a:endCxn id="58" idx="1"/>
          </p:cNvCxnSpPr>
          <p:nvPr/>
        </p:nvCxnSpPr>
        <p:spPr>
          <a:xfrm flipV="1">
            <a:off x="5636735" y="4225976"/>
            <a:ext cx="242246" cy="6434"/>
          </a:xfrm>
          <a:prstGeom prst="straightConnector1">
            <a:avLst/>
          </a:prstGeom>
          <a:ln w="12700" cap="flat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oup 34">
            <a:extLst>
              <a:ext uri="{FF2B5EF4-FFF2-40B4-BE49-F238E27FC236}">
                <a16:creationId xmlns:a16="http://schemas.microsoft.com/office/drawing/2014/main" id="{F6490E65-1FE4-07A8-F01B-41B456288CE2}"/>
              </a:ext>
            </a:extLst>
          </p:cNvPr>
          <p:cNvGrpSpPr/>
          <p:nvPr/>
        </p:nvGrpSpPr>
        <p:grpSpPr>
          <a:xfrm>
            <a:off x="6305820" y="1696686"/>
            <a:ext cx="1293812" cy="457200"/>
            <a:chOff x="3824328" y="2071687"/>
            <a:chExt cx="1293812" cy="457200"/>
          </a:xfrm>
        </p:grpSpPr>
        <p:pic>
          <p:nvPicPr>
            <p:cNvPr id="62" name="Graphic 42">
              <a:extLst>
                <a:ext uri="{FF2B5EF4-FFF2-40B4-BE49-F238E27FC236}">
                  <a16:creationId xmlns:a16="http://schemas.microsoft.com/office/drawing/2014/main" id="{DE20537B-6865-3ED2-F49B-073BB456CC6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824328" y="2071687"/>
              <a:ext cx="203200" cy="457200"/>
            </a:xfrm>
            <a:prstGeom prst="rect">
              <a:avLst/>
            </a:prstGeom>
          </p:spPr>
        </p:pic>
        <p:pic>
          <p:nvPicPr>
            <p:cNvPr id="63" name="Graphic 44">
              <a:extLst>
                <a:ext uri="{FF2B5EF4-FFF2-40B4-BE49-F238E27FC236}">
                  <a16:creationId xmlns:a16="http://schemas.microsoft.com/office/drawing/2014/main" id="{81D96CAF-CD98-89C3-7A9B-5D04AFA5D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042450" y="2071687"/>
              <a:ext cx="203200" cy="457200"/>
            </a:xfrm>
            <a:prstGeom prst="rect">
              <a:avLst/>
            </a:prstGeom>
          </p:spPr>
        </p:pic>
        <p:pic>
          <p:nvPicPr>
            <p:cNvPr id="64" name="Graphic 45">
              <a:extLst>
                <a:ext uri="{FF2B5EF4-FFF2-40B4-BE49-F238E27FC236}">
                  <a16:creationId xmlns:a16="http://schemas.microsoft.com/office/drawing/2014/main" id="{C468BFAD-7E69-AD03-B585-CD52DC91079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260572" y="2071687"/>
              <a:ext cx="203200" cy="457200"/>
            </a:xfrm>
            <a:prstGeom prst="rect">
              <a:avLst/>
            </a:prstGeom>
          </p:spPr>
        </p:pic>
        <p:pic>
          <p:nvPicPr>
            <p:cNvPr id="65" name="Graphic 46">
              <a:extLst>
                <a:ext uri="{FF2B5EF4-FFF2-40B4-BE49-F238E27FC236}">
                  <a16:creationId xmlns:a16="http://schemas.microsoft.com/office/drawing/2014/main" id="{831754F6-0FEA-1B89-C43A-1C04F656D49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478694" y="2071687"/>
              <a:ext cx="203200" cy="457200"/>
            </a:xfrm>
            <a:prstGeom prst="rect">
              <a:avLst/>
            </a:prstGeom>
          </p:spPr>
        </p:pic>
        <p:pic>
          <p:nvPicPr>
            <p:cNvPr id="66" name="Graphic 47">
              <a:extLst>
                <a:ext uri="{FF2B5EF4-FFF2-40B4-BE49-F238E27FC236}">
                  <a16:creationId xmlns:a16="http://schemas.microsoft.com/office/drawing/2014/main" id="{0110117A-84A8-F534-EB32-E43BDFE037A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696816" y="2071687"/>
              <a:ext cx="203200" cy="457200"/>
            </a:xfrm>
            <a:prstGeom prst="rect">
              <a:avLst/>
            </a:prstGeom>
          </p:spPr>
        </p:pic>
        <p:pic>
          <p:nvPicPr>
            <p:cNvPr id="67" name="Graphic 48">
              <a:extLst>
                <a:ext uri="{FF2B5EF4-FFF2-40B4-BE49-F238E27FC236}">
                  <a16:creationId xmlns:a16="http://schemas.microsoft.com/office/drawing/2014/main" id="{AAE59FE8-378E-2878-B092-A67F93470A4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914940" y="2071687"/>
              <a:ext cx="203200" cy="457200"/>
            </a:xfrm>
            <a:prstGeom prst="rect">
              <a:avLst/>
            </a:prstGeom>
          </p:spPr>
        </p:pic>
      </p:grpSp>
      <p:grpSp>
        <p:nvGrpSpPr>
          <p:cNvPr id="68" name="Group 49">
            <a:extLst>
              <a:ext uri="{FF2B5EF4-FFF2-40B4-BE49-F238E27FC236}">
                <a16:creationId xmlns:a16="http://schemas.microsoft.com/office/drawing/2014/main" id="{BE7FDAAF-1CD0-0CA3-D381-57D40ECD61C7}"/>
              </a:ext>
            </a:extLst>
          </p:cNvPr>
          <p:cNvGrpSpPr/>
          <p:nvPr/>
        </p:nvGrpSpPr>
        <p:grpSpPr>
          <a:xfrm>
            <a:off x="6305821" y="3342763"/>
            <a:ext cx="1293812" cy="457200"/>
            <a:chOff x="3824328" y="3281361"/>
            <a:chExt cx="1293812" cy="457200"/>
          </a:xfrm>
        </p:grpSpPr>
        <p:pic>
          <p:nvPicPr>
            <p:cNvPr id="69" name="Graphic 50">
              <a:extLst>
                <a:ext uri="{FF2B5EF4-FFF2-40B4-BE49-F238E27FC236}">
                  <a16:creationId xmlns:a16="http://schemas.microsoft.com/office/drawing/2014/main" id="{9AD5A641-C662-C6FC-6F6D-4CDF478FDBC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824328" y="3281361"/>
              <a:ext cx="203200" cy="457200"/>
            </a:xfrm>
            <a:prstGeom prst="rect">
              <a:avLst/>
            </a:prstGeom>
          </p:spPr>
        </p:pic>
        <p:pic>
          <p:nvPicPr>
            <p:cNvPr id="70" name="Graphic 51">
              <a:extLst>
                <a:ext uri="{FF2B5EF4-FFF2-40B4-BE49-F238E27FC236}">
                  <a16:creationId xmlns:a16="http://schemas.microsoft.com/office/drawing/2014/main" id="{12AF8AFA-7222-5DAC-0D74-B5108269FF9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042450" y="3281361"/>
              <a:ext cx="203200" cy="457200"/>
            </a:xfrm>
            <a:prstGeom prst="rect">
              <a:avLst/>
            </a:prstGeom>
          </p:spPr>
        </p:pic>
        <p:pic>
          <p:nvPicPr>
            <p:cNvPr id="71" name="Graphic 52">
              <a:extLst>
                <a:ext uri="{FF2B5EF4-FFF2-40B4-BE49-F238E27FC236}">
                  <a16:creationId xmlns:a16="http://schemas.microsoft.com/office/drawing/2014/main" id="{F4DAE7CD-7844-9A1C-D95A-D1D099CB117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260572" y="3281361"/>
              <a:ext cx="203200" cy="457200"/>
            </a:xfrm>
            <a:prstGeom prst="rect">
              <a:avLst/>
            </a:prstGeom>
          </p:spPr>
        </p:pic>
        <p:pic>
          <p:nvPicPr>
            <p:cNvPr id="72" name="Graphic 53">
              <a:extLst>
                <a:ext uri="{FF2B5EF4-FFF2-40B4-BE49-F238E27FC236}">
                  <a16:creationId xmlns:a16="http://schemas.microsoft.com/office/drawing/2014/main" id="{271B8436-85FA-2B71-4293-453D88336F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478694" y="3281361"/>
              <a:ext cx="203200" cy="457200"/>
            </a:xfrm>
            <a:prstGeom prst="rect">
              <a:avLst/>
            </a:prstGeom>
          </p:spPr>
        </p:pic>
        <p:pic>
          <p:nvPicPr>
            <p:cNvPr id="73" name="Graphic 54">
              <a:extLst>
                <a:ext uri="{FF2B5EF4-FFF2-40B4-BE49-F238E27FC236}">
                  <a16:creationId xmlns:a16="http://schemas.microsoft.com/office/drawing/2014/main" id="{47EF82BD-1A3A-BF2A-9AA9-B2B43D1C483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696816" y="3281361"/>
              <a:ext cx="203200" cy="457200"/>
            </a:xfrm>
            <a:prstGeom prst="rect">
              <a:avLst/>
            </a:prstGeom>
          </p:spPr>
        </p:pic>
        <p:pic>
          <p:nvPicPr>
            <p:cNvPr id="74" name="Graphic 55">
              <a:extLst>
                <a:ext uri="{FF2B5EF4-FFF2-40B4-BE49-F238E27FC236}">
                  <a16:creationId xmlns:a16="http://schemas.microsoft.com/office/drawing/2014/main" id="{D59AD452-193B-6B9A-7523-B3523665C65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914940" y="3281361"/>
              <a:ext cx="203200" cy="457200"/>
            </a:xfrm>
            <a:prstGeom prst="rect">
              <a:avLst/>
            </a:prstGeom>
          </p:spPr>
        </p:pic>
      </p:grpSp>
      <p:sp>
        <p:nvSpPr>
          <p:cNvPr id="75" name="Rectangle: Rounded Corners 56">
            <a:extLst>
              <a:ext uri="{FF2B5EF4-FFF2-40B4-BE49-F238E27FC236}">
                <a16:creationId xmlns:a16="http://schemas.microsoft.com/office/drawing/2014/main" id="{AE5B8269-6967-D9F1-1187-05588B657558}"/>
              </a:ext>
            </a:extLst>
          </p:cNvPr>
          <p:cNvSpPr/>
          <p:nvPr/>
        </p:nvSpPr>
        <p:spPr bwMode="auto">
          <a:xfrm>
            <a:off x="3903662" y="1295410"/>
            <a:ext cx="994157" cy="427273"/>
          </a:xfrm>
          <a:prstGeom prst="roundRect">
            <a:avLst/>
          </a:prstGeom>
          <a:noFill/>
          <a:ln w="12700">
            <a:noFill/>
          </a:ln>
        </p:spPr>
        <p:txBody>
          <a:bodyPr wrap="square" anchor="ctr" anchorCtr="0">
            <a:no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CYCLE 1–8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Noto Sans"/>
            </a:endParaRPr>
          </a:p>
        </p:txBody>
      </p:sp>
      <p:sp>
        <p:nvSpPr>
          <p:cNvPr id="76" name="Rectangle: Rounded Corners 57">
            <a:extLst>
              <a:ext uri="{FF2B5EF4-FFF2-40B4-BE49-F238E27FC236}">
                <a16:creationId xmlns:a16="http://schemas.microsoft.com/office/drawing/2014/main" id="{C8C189E0-BCA9-22A8-A7A4-713AA3CADA41}"/>
              </a:ext>
            </a:extLst>
          </p:cNvPr>
          <p:cNvSpPr/>
          <p:nvPr/>
        </p:nvSpPr>
        <p:spPr bwMode="auto">
          <a:xfrm>
            <a:off x="6448185" y="1298001"/>
            <a:ext cx="994157" cy="427273"/>
          </a:xfrm>
          <a:prstGeom prst="roundRect">
            <a:avLst/>
          </a:prstGeom>
          <a:noFill/>
          <a:ln w="12700">
            <a:noFill/>
          </a:ln>
        </p:spPr>
        <p:txBody>
          <a:bodyPr wrap="square" anchor="ctr" anchorCtr="0">
            <a:no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Noto Sans"/>
              </a:rPr>
              <a:t>CYCLE 9+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Noto San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2F68291D-9A28-094F-0F8B-D75B29F3196A}"/>
              </a:ext>
            </a:extLst>
          </p:cNvPr>
          <p:cNvSpPr txBox="1"/>
          <p:nvPr/>
        </p:nvSpPr>
        <p:spPr>
          <a:xfrm>
            <a:off x="6043614" y="6621997"/>
            <a:ext cx="614838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Hungria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 V, et al.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N Engl J Med. 2024 Aug 1;391(5):393-407.</a:t>
            </a:r>
            <a:endParaRPr kumimoji="0" lang="el-GR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0C33D64-20B7-ADAC-74D8-8EA331881A22}"/>
              </a:ext>
            </a:extLst>
          </p:cNvPr>
          <p:cNvSpPr txBox="1"/>
          <p:nvPr/>
        </p:nvSpPr>
        <p:spPr>
          <a:xfrm>
            <a:off x="144966" y="6490010"/>
            <a:ext cx="33927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Thanos C Dimopoulos, MD</a:t>
            </a:r>
          </a:p>
        </p:txBody>
      </p:sp>
    </p:spTree>
    <p:extLst>
      <p:ext uri="{BB962C8B-B14F-4D97-AF65-F5344CB8AC3E}">
        <p14:creationId xmlns:p14="http://schemas.microsoft.com/office/powerpoint/2010/main" val="232931020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>
            <a:extLst>
              <a:ext uri="{FF2B5EF4-FFF2-40B4-BE49-F238E27FC236}">
                <a16:creationId xmlns:a16="http://schemas.microsoft.com/office/drawing/2014/main" id="{6A4767AB-87E4-FE2B-CEAA-FB44A27F25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458501"/>
            <a:ext cx="11826875" cy="468027"/>
          </a:xfrm>
        </p:spPr>
        <p:txBody>
          <a:bodyPr/>
          <a:lstStyle/>
          <a:p>
            <a:r>
              <a:rPr lang="en-US" sz="3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EAMM-7 study – Patients Characteristics</a:t>
            </a:r>
            <a:endParaRPr lang="el-GR" sz="320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3" name="Table 14">
            <a:extLst>
              <a:ext uri="{FF2B5EF4-FFF2-40B4-BE49-F238E27FC236}">
                <a16:creationId xmlns:a16="http://schemas.microsoft.com/office/drawing/2014/main" id="{7142F6B2-1262-4C21-D361-038C8D6ED0A5}"/>
              </a:ext>
            </a:extLst>
          </p:cNvPr>
          <p:cNvGraphicFramePr>
            <a:graphicFrameLocks noGrp="1"/>
          </p:cNvGraphicFramePr>
          <p:nvPr/>
        </p:nvGraphicFramePr>
        <p:xfrm>
          <a:off x="365125" y="1317624"/>
          <a:ext cx="11459151" cy="4474812"/>
        </p:xfrm>
        <a:graphic>
          <a:graphicData uri="http://schemas.openxmlformats.org/drawingml/2006/table">
            <a:tbl>
              <a:tblPr firstRow="1" firstCol="1" bandRow="1">
                <a:tableStyleId>{1E171933-4619-4E11-9A3F-F7608DF75F80}</a:tableStyleId>
              </a:tblPr>
              <a:tblGrid>
                <a:gridCol w="4910219">
                  <a:extLst>
                    <a:ext uri="{9D8B030D-6E8A-4147-A177-3AD203B41FA5}">
                      <a16:colId xmlns:a16="http://schemas.microsoft.com/office/drawing/2014/main" val="2063599075"/>
                    </a:ext>
                  </a:extLst>
                </a:gridCol>
                <a:gridCol w="3274466">
                  <a:extLst>
                    <a:ext uri="{9D8B030D-6E8A-4147-A177-3AD203B41FA5}">
                      <a16:colId xmlns:a16="http://schemas.microsoft.com/office/drawing/2014/main" val="469695551"/>
                    </a:ext>
                  </a:extLst>
                </a:gridCol>
                <a:gridCol w="3274466">
                  <a:extLst>
                    <a:ext uri="{9D8B030D-6E8A-4147-A177-3AD203B41FA5}">
                      <a16:colId xmlns:a16="http://schemas.microsoft.com/office/drawing/2014/main" val="3781322230"/>
                    </a:ext>
                  </a:extLst>
                </a:gridCol>
              </a:tblGrid>
              <a:tr h="874848">
                <a:tc>
                  <a:txBody>
                    <a:bodyPr/>
                    <a:lstStyle/>
                    <a:p>
                      <a:pPr marL="0" marR="0" lvl="0" indent="0" algn="l" defTabSz="121914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Demographics and baseline characteristics</a:t>
                      </a:r>
                      <a:endParaRPr lang="en-US" sz="1400" b="1" kern="1200" baseline="30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9293" marR="59293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Vd</a:t>
                      </a:r>
                      <a:br>
                        <a:rPr lang="en-US" sz="14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N=243)</a:t>
                      </a:r>
                    </a:p>
                  </a:txBody>
                  <a:tcPr marL="59293" marR="59293" marT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err="1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Vd</a:t>
                      </a: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br>
                        <a:rPr lang="en-US" sz="14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N=251)</a:t>
                      </a:r>
                    </a:p>
                  </a:txBody>
                  <a:tcPr marL="59293" marR="59293" marT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2186403"/>
                  </a:ext>
                </a:extLst>
              </a:tr>
              <a:tr h="399996">
                <a:tc>
                  <a:txBody>
                    <a:bodyPr/>
                    <a:lstStyle/>
                    <a:p>
                      <a:pPr marL="9144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  <a:latin typeface="+mn-lt"/>
                        </a:rPr>
                        <a:t>Median age, years (range)</a:t>
                      </a:r>
                    </a:p>
                  </a:txBody>
                  <a:tcPr marL="59293" marR="59293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effectLst/>
                          <a:latin typeface="+mn-lt"/>
                        </a:rPr>
                        <a:t>65 (34–86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effectLst/>
                          <a:latin typeface="+mn-lt"/>
                        </a:rPr>
                        <a:t>64 (32–89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5099683"/>
                  </a:ext>
                </a:extLst>
              </a:tr>
              <a:tr h="399996">
                <a:tc>
                  <a:txBody>
                    <a:bodyPr/>
                    <a:lstStyle/>
                    <a:p>
                      <a:pPr marL="91440" marR="0" lvl="0" indent="0" algn="l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Standard/high risk cytogenetic abnormalities, n (%) </a:t>
                      </a:r>
                    </a:p>
                  </a:txBody>
                  <a:tcPr marL="59293" marR="59293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75 (72)/67 (28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175 (70)/69 (27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3554779"/>
                  </a:ext>
                </a:extLst>
              </a:tr>
              <a:tr h="399996">
                <a:tc>
                  <a:txBody>
                    <a:bodyPr/>
                    <a:lstStyle/>
                    <a:p>
                      <a:pPr marL="91440" marR="0" lvl="0" indent="0" algn="l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effectLst/>
                          <a:latin typeface="+mn-lt"/>
                        </a:rPr>
                        <a:t>EMD present, n (%)</a:t>
                      </a:r>
                    </a:p>
                  </a:txBody>
                  <a:tcPr marL="59293" marR="59293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  <a:latin typeface="+mn-lt"/>
                        </a:rPr>
                        <a:t>13 (5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  <a:latin typeface="+mn-lt"/>
                        </a:rPr>
                        <a:t>25 (10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0492584"/>
                  </a:ext>
                </a:extLst>
              </a:tr>
              <a:tr h="399996">
                <a:tc>
                  <a:txBody>
                    <a:bodyPr/>
                    <a:lstStyle/>
                    <a:p>
                      <a:pPr marL="91440" marR="0" lvl="0" indent="0" algn="l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effectLst/>
                          <a:latin typeface="+mn-lt"/>
                        </a:rPr>
                        <a:t>R-ISS Stage </a:t>
                      </a:r>
                      <a:r>
                        <a:rPr lang="en-GB" sz="1400" b="0" dirty="0">
                          <a:effectLst/>
                          <a:latin typeface="+mn-lt"/>
                        </a:rPr>
                        <a:t>I/II/III</a:t>
                      </a:r>
                      <a:r>
                        <a:rPr lang="en-US" sz="1400" b="0" dirty="0">
                          <a:effectLst/>
                          <a:latin typeface="+mn-lt"/>
                        </a:rPr>
                        <a:t>, n (%)</a:t>
                      </a:r>
                    </a:p>
                  </a:txBody>
                  <a:tcPr marL="59293" marR="59293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effectLst/>
                          <a:latin typeface="+mn-lt"/>
                        </a:rPr>
                        <a:t>102 (42)/130 (53)/9 (4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effectLst/>
                          <a:latin typeface="+mn-lt"/>
                        </a:rPr>
                        <a:t>103 (41)/132 (53)/14 (6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5521223"/>
                  </a:ext>
                </a:extLst>
              </a:tr>
              <a:tr h="399996">
                <a:tc>
                  <a:txBody>
                    <a:bodyPr/>
                    <a:lstStyle/>
                    <a:p>
                      <a:pPr marL="9144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  <a:latin typeface="+mn-lt"/>
                        </a:rPr>
                        <a:t>Prior ASCT, n (%)</a:t>
                      </a:r>
                    </a:p>
                  </a:txBody>
                  <a:tcPr marL="59293" marR="59293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  <a:latin typeface="+mn-lt"/>
                        </a:rPr>
                        <a:t>164 (67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>
                          <a:effectLst/>
                          <a:latin typeface="+mn-lt"/>
                        </a:rPr>
                        <a:t>173 (69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9014466"/>
                  </a:ext>
                </a:extLst>
              </a:tr>
              <a:tr h="399996">
                <a:tc>
                  <a:txBody>
                    <a:bodyPr/>
                    <a:lstStyle/>
                    <a:p>
                      <a:pPr marL="91440" marR="0" lvl="0" indent="0" algn="l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ior </a:t>
                      </a:r>
                      <a:r>
                        <a:rPr lang="en-US" sz="1400" b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oT</a:t>
                      </a:r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en-US" sz="1400" b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/2 or 3/≥4, </a:t>
                      </a:r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 (%)</a:t>
                      </a:r>
                    </a:p>
                  </a:txBody>
                  <a:tcPr marL="59293" marR="59293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5 (51)/</a:t>
                      </a: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8 (36)</a:t>
                      </a:r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/</a:t>
                      </a: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 (12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5 (50)/</a:t>
                      </a: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9 (39)</a:t>
                      </a:r>
                      <a:r>
                        <a:rPr lang="en-US" sz="1400" b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/</a:t>
                      </a: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 (11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231528"/>
                  </a:ext>
                </a:extLst>
              </a:tr>
              <a:tr h="399996">
                <a:tc>
                  <a:txBody>
                    <a:bodyPr/>
                    <a:lstStyle/>
                    <a:p>
                      <a:pPr marL="90000" marR="0" lvl="1" indent="0" algn="l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or lenalidomide, n (%)</a:t>
                      </a:r>
                    </a:p>
                  </a:txBody>
                  <a:tcPr marL="59293" marR="59293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121914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7 (52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marR="0" lvl="0" indent="0" algn="ctr" defTabSz="121914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0 (52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0963775"/>
                  </a:ext>
                </a:extLst>
              </a:tr>
              <a:tr h="399996">
                <a:tc>
                  <a:txBody>
                    <a:bodyPr/>
                    <a:lstStyle/>
                    <a:p>
                      <a:pPr marL="360000" marR="0" lvl="1" indent="-180000" algn="l" defTabSz="12191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fractory to lenalidomide, n (%)</a:t>
                      </a:r>
                    </a:p>
                  </a:txBody>
                  <a:tcPr marL="59293" marR="59293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baseline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79 (33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baseline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87 (35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7201853"/>
                  </a:ext>
                </a:extLst>
              </a:tr>
              <a:tr h="399996">
                <a:tc>
                  <a:txBody>
                    <a:bodyPr/>
                    <a:lstStyle/>
                    <a:p>
                      <a:pPr marL="9144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or daratumumab, n (%)</a:t>
                      </a:r>
                    </a:p>
                  </a:txBody>
                  <a:tcPr marL="59293" marR="59293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baseline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 (1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 (2)</a:t>
                      </a:r>
                    </a:p>
                  </a:txBody>
                  <a:tcPr marL="59293" marR="59293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7698065"/>
                  </a:ext>
                </a:extLst>
              </a:tr>
            </a:tbl>
          </a:graphicData>
        </a:graphic>
      </p:graphicFrame>
      <p:sp>
        <p:nvSpPr>
          <p:cNvPr id="4" name="Rectangle: Rounded Corners 24">
            <a:extLst>
              <a:ext uri="{FF2B5EF4-FFF2-40B4-BE49-F238E27FC236}">
                <a16:creationId xmlns:a16="http://schemas.microsoft.com/office/drawing/2014/main" id="{036062A7-4E4E-5F7E-0B6E-D452EEA974FF}"/>
              </a:ext>
            </a:extLst>
          </p:cNvPr>
          <p:cNvSpPr/>
          <p:nvPr/>
        </p:nvSpPr>
        <p:spPr bwMode="auto">
          <a:xfrm>
            <a:off x="365125" y="2583711"/>
            <a:ext cx="11459150" cy="396000"/>
          </a:xfrm>
          <a:prstGeom prst="roundRect">
            <a:avLst/>
          </a:prstGeom>
          <a:noFill/>
          <a:ln w="28575">
            <a:solidFill>
              <a:schemeClr val="tx2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Noto Sans"/>
            </a:endParaRPr>
          </a:p>
        </p:txBody>
      </p:sp>
      <p:sp>
        <p:nvSpPr>
          <p:cNvPr id="5" name="Rectangle: Rounded Corners 25">
            <a:extLst>
              <a:ext uri="{FF2B5EF4-FFF2-40B4-BE49-F238E27FC236}">
                <a16:creationId xmlns:a16="http://schemas.microsoft.com/office/drawing/2014/main" id="{41822027-313F-81D7-F71E-C78F404E7EFF}"/>
              </a:ext>
            </a:extLst>
          </p:cNvPr>
          <p:cNvSpPr/>
          <p:nvPr/>
        </p:nvSpPr>
        <p:spPr bwMode="auto">
          <a:xfrm>
            <a:off x="365125" y="4586176"/>
            <a:ext cx="11459150" cy="815164"/>
          </a:xfrm>
          <a:prstGeom prst="roundRect">
            <a:avLst/>
          </a:prstGeom>
          <a:noFill/>
          <a:ln w="28575">
            <a:solidFill>
              <a:schemeClr val="tx2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Noto San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7F2A49D-0FFC-1DAA-9ABA-39F2B7E0B6AE}"/>
              </a:ext>
            </a:extLst>
          </p:cNvPr>
          <p:cNvSpPr txBox="1"/>
          <p:nvPr/>
        </p:nvSpPr>
        <p:spPr>
          <a:xfrm>
            <a:off x="6043614" y="6621997"/>
            <a:ext cx="614838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Hungria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 V, et al.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N Engl J Med. 2024 Aug 1;391(5):393-407.</a:t>
            </a:r>
            <a:endParaRPr kumimoji="0" lang="el-GR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2C96273-998B-DAE5-4153-E07B04E06CB7}"/>
              </a:ext>
            </a:extLst>
          </p:cNvPr>
          <p:cNvSpPr txBox="1"/>
          <p:nvPr/>
        </p:nvSpPr>
        <p:spPr>
          <a:xfrm>
            <a:off x="144966" y="6490010"/>
            <a:ext cx="33927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Thanos C Dimopoulos, MD</a:t>
            </a:r>
          </a:p>
        </p:txBody>
      </p:sp>
    </p:spTree>
    <p:extLst>
      <p:ext uri="{BB962C8B-B14F-4D97-AF65-F5344CB8AC3E}">
        <p14:creationId xmlns:p14="http://schemas.microsoft.com/office/powerpoint/2010/main" val="165014883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>
            <a:extLst>
              <a:ext uri="{FF2B5EF4-FFF2-40B4-BE49-F238E27FC236}">
                <a16:creationId xmlns:a16="http://schemas.microsoft.com/office/drawing/2014/main" id="{6A4767AB-87E4-FE2B-CEAA-FB44A27F25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6154" y="241730"/>
            <a:ext cx="12048067" cy="443198"/>
          </a:xfrm>
        </p:spPr>
        <p:txBody>
          <a:bodyPr/>
          <a:lstStyle/>
          <a:p>
            <a:r>
              <a:rPr lang="en-US" sz="32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EAMM-7 study – PFS</a:t>
            </a:r>
            <a:endParaRPr lang="el-GR" sz="320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: Rounded Corners 19">
            <a:extLst>
              <a:ext uri="{FF2B5EF4-FFF2-40B4-BE49-F238E27FC236}">
                <a16:creationId xmlns:a16="http://schemas.microsoft.com/office/drawing/2014/main" id="{B70D83AF-BBAA-B829-5E8C-D8C0340F554F}"/>
              </a:ext>
            </a:extLst>
          </p:cNvPr>
          <p:cNvSpPr/>
          <p:nvPr/>
        </p:nvSpPr>
        <p:spPr>
          <a:xfrm>
            <a:off x="378380" y="1220875"/>
            <a:ext cx="11460162" cy="4571563"/>
          </a:xfrm>
          <a:prstGeom prst="roundRect">
            <a:avLst>
              <a:gd name="adj" fmla="val 6970"/>
            </a:avLst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r="5400000" algn="ctr" rotWithShape="0">
              <a:srgbClr val="000000">
                <a:alpha val="1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5760" bIns="9144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Noto Sans"/>
            </a:endParaRPr>
          </a:p>
        </p:txBody>
      </p:sp>
      <p:graphicFrame>
        <p:nvGraphicFramePr>
          <p:cNvPr id="8" name="Table 13">
            <a:extLst>
              <a:ext uri="{FF2B5EF4-FFF2-40B4-BE49-F238E27FC236}">
                <a16:creationId xmlns:a16="http://schemas.microsoft.com/office/drawing/2014/main" id="{F380D395-19B1-237B-2D93-A37284DDBBC4}"/>
              </a:ext>
            </a:extLst>
          </p:cNvPr>
          <p:cNvGraphicFramePr>
            <a:graphicFrameLocks noGrp="1"/>
          </p:cNvGraphicFramePr>
          <p:nvPr/>
        </p:nvGraphicFramePr>
        <p:xfrm>
          <a:off x="6980177" y="1484565"/>
          <a:ext cx="4606064" cy="936000"/>
        </p:xfrm>
        <a:graphic>
          <a:graphicData uri="http://schemas.openxmlformats.org/drawingml/2006/table">
            <a:tbl>
              <a:tblPr firstRow="1" firstCol="1" bandRow="1">
                <a:tableStyleId>{9D7B26C5-4107-4FEC-AEDC-1716B250A1EF}</a:tableStyleId>
              </a:tblPr>
              <a:tblGrid>
                <a:gridCol w="1980000">
                  <a:extLst>
                    <a:ext uri="{9D8B030D-6E8A-4147-A177-3AD203B41FA5}">
                      <a16:colId xmlns:a16="http://schemas.microsoft.com/office/drawing/2014/main" val="146219507"/>
                    </a:ext>
                  </a:extLst>
                </a:gridCol>
                <a:gridCol w="1313032">
                  <a:extLst>
                    <a:ext uri="{9D8B030D-6E8A-4147-A177-3AD203B41FA5}">
                      <a16:colId xmlns:a16="http://schemas.microsoft.com/office/drawing/2014/main" val="2546415161"/>
                    </a:ext>
                  </a:extLst>
                </a:gridCol>
                <a:gridCol w="1313032">
                  <a:extLst>
                    <a:ext uri="{9D8B030D-6E8A-4147-A177-3AD203B41FA5}">
                      <a16:colId xmlns:a16="http://schemas.microsoft.com/office/drawing/2014/main" val="3235915801"/>
                    </a:ext>
                  </a:extLst>
                </a:gridCol>
              </a:tblGrid>
              <a:tr h="234000">
                <a:tc>
                  <a:txBody>
                    <a:bodyPr/>
                    <a:lstStyle/>
                    <a:p>
                      <a:pPr marL="0" marR="0" algn="l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200" b="0" i="0" u="none" strike="noStrike">
                        <a:effectLst/>
                        <a:latin typeface="Arial"/>
                      </a:endParaRPr>
                    </a:p>
                  </a:txBody>
                  <a:tcPr marR="68580" marT="0" marB="0" anchor="b">
                    <a:lnL w="6350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BVd</a:t>
                      </a:r>
                      <a:r>
                        <a:rPr lang="en-US" sz="1200" b="1" i="0" u="none" strike="noStrike" kern="1200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 (N=243)</a:t>
                      </a:r>
                      <a:endParaRPr lang="en-US" sz="1200" b="0" i="0" u="none" strike="noStrike">
                        <a:effectLst/>
                        <a:latin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kern="1200" err="1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DVd</a:t>
                      </a:r>
                      <a:r>
                        <a:rPr lang="en-US" sz="1200" b="1" i="0" u="none" strike="noStrike" kern="1200">
                          <a:solidFill>
                            <a:srgbClr val="FFFFFF"/>
                          </a:solidFill>
                          <a:effectLst/>
                          <a:latin typeface="Arial"/>
                          <a:cs typeface="Arial"/>
                        </a:rPr>
                        <a:t> (N=251)</a:t>
                      </a:r>
                      <a:endParaRPr lang="en-US" sz="1200"/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5255181"/>
                  </a:ext>
                </a:extLst>
              </a:tr>
              <a:tr h="234000">
                <a:tc>
                  <a:txBody>
                    <a:bodyPr/>
                    <a:lstStyle/>
                    <a:p>
                      <a:pPr marL="0" marR="0" algn="l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Median PFS </a:t>
                      </a:r>
                      <a:r>
                        <a:rPr 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(95% CI), </a:t>
                      </a:r>
                      <a:r>
                        <a:rPr lang="en-US" sz="1200" b="0" i="0" u="none" strike="noStrike" kern="1200" err="1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mo</a:t>
                      </a:r>
                      <a:endParaRPr lang="en-US" sz="1200" b="0" i="0" u="none" strike="noStrike">
                        <a:effectLst/>
                        <a:latin typeface="Arial"/>
                        <a:cs typeface="Arial"/>
                      </a:endParaRPr>
                    </a:p>
                  </a:txBody>
                  <a:tcPr marR="68580" marT="0" marB="0" anchor="ctr">
                    <a:lnL w="6350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i="0" u="none" strike="noStrike" noProof="0">
                          <a:effectLst/>
                          <a:latin typeface="Arial"/>
                        </a:rPr>
                        <a:t>36.6</a:t>
                      </a:r>
                      <a:r>
                        <a:rPr lang="en-US" sz="1200">
                          <a:effectLst/>
                        </a:rPr>
                        <a:t> </a:t>
                      </a: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28.4, -</a:t>
                      </a:r>
                      <a:r>
                        <a:rPr lang="en-US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en-US" sz="1200"/>
                    </a:p>
                  </a:txBody>
                  <a:tcPr marL="9525" marR="9525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</a:rPr>
                        <a:t>13.4</a:t>
                      </a:r>
                      <a:r>
                        <a:rPr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</a:rPr>
                        <a:t> </a:t>
                      </a:r>
                      <a:r>
                        <a:rPr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(</a:t>
                      </a:r>
                      <a:r>
                        <a:rPr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</a:rPr>
                        <a:t>11.1, 17.5</a:t>
                      </a:r>
                      <a:r>
                        <a:rPr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)</a:t>
                      </a:r>
                      <a:endParaRPr lang="en-US" sz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uLnTx/>
                        <a:uFillTx/>
                        <a:latin typeface="+mn-lt"/>
                      </a:endParaRPr>
                    </a:p>
                  </a:txBody>
                  <a:tcPr marL="45720" marR="4572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2905399"/>
                  </a:ext>
                </a:extLst>
              </a:tr>
              <a:tr h="234000">
                <a:tc gridSpan="3"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Hazard ratio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(95% CI): </a:t>
                      </a:r>
                      <a:r>
                        <a:rPr lang="en-US" sz="1200" b="1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41</a:t>
                      </a:r>
                      <a:r>
                        <a:rPr lang="en-US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(0.31, 0.53); </a:t>
                      </a:r>
                      <a:r>
                        <a:rPr lang="en-US" sz="1200" b="0" i="1" u="none" strike="noStrike" kern="1200" dirty="0">
                          <a:solidFill>
                            <a:srgbClr val="1E2D3A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12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&lt;0.00001</a:t>
                      </a:r>
                    </a:p>
                  </a:txBody>
                  <a:tcPr marR="68580" marT="0" marB="0" anchor="ctr">
                    <a:lnL w="6350">
                      <a:noFill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1E2D3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1E2D3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472196838"/>
                  </a:ext>
                </a:extLst>
              </a:tr>
              <a:tr h="234000">
                <a:tc gridSpan="3">
                  <a:txBody>
                    <a:bodyPr/>
                    <a:lstStyle/>
                    <a:p>
                      <a:pPr marL="0" marR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i="0" u="none" strike="noStrike" dirty="0">
                          <a:effectLst/>
                          <a:latin typeface="Arial"/>
                          <a:cs typeface="Arial"/>
                        </a:rPr>
                        <a:t>Median follow-up:</a:t>
                      </a:r>
                      <a:r>
                        <a:rPr lang="en-US" sz="1200" b="0" i="0" u="none" strike="noStrike" dirty="0">
                          <a:effectLst/>
                          <a:latin typeface="Arial"/>
                          <a:cs typeface="Arial"/>
                        </a:rPr>
                        <a:t> 28.2 months (0.10–40.02)</a:t>
                      </a:r>
                    </a:p>
                  </a:txBody>
                  <a:tcPr marR="68580" marT="0" marB="0" anchor="ctr">
                    <a:lnL w="6350">
                      <a:noFill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2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4920359"/>
                  </a:ext>
                </a:extLst>
              </a:tr>
            </a:tbl>
          </a:graphicData>
        </a:graphic>
      </p:graphicFrame>
      <p:grpSp>
        <p:nvGrpSpPr>
          <p:cNvPr id="9" name="Group 18">
            <a:extLst>
              <a:ext uri="{FF2B5EF4-FFF2-40B4-BE49-F238E27FC236}">
                <a16:creationId xmlns:a16="http://schemas.microsoft.com/office/drawing/2014/main" id="{F26BAE7D-E9B4-1CB9-A82A-995397371D7D}"/>
              </a:ext>
            </a:extLst>
          </p:cNvPr>
          <p:cNvGrpSpPr/>
          <p:nvPr/>
        </p:nvGrpSpPr>
        <p:grpSpPr>
          <a:xfrm>
            <a:off x="1542390" y="3890891"/>
            <a:ext cx="812272" cy="446276"/>
            <a:chOff x="3643005" y="3721777"/>
            <a:chExt cx="812272" cy="446276"/>
          </a:xfrm>
        </p:grpSpPr>
        <p:sp>
          <p:nvSpPr>
            <p:cNvPr id="10" name="Rectangle 8">
              <a:extLst>
                <a:ext uri="{FF2B5EF4-FFF2-40B4-BE49-F238E27FC236}">
                  <a16:creationId xmlns:a16="http://schemas.microsoft.com/office/drawing/2014/main" id="{EAD2A985-DC45-8027-F871-7ACAA5B19537}"/>
                </a:ext>
              </a:extLst>
            </p:cNvPr>
            <p:cNvSpPr/>
            <p:nvPr/>
          </p:nvSpPr>
          <p:spPr bwMode="auto">
            <a:xfrm>
              <a:off x="4059277" y="3721777"/>
              <a:ext cx="396000" cy="446276"/>
            </a:xfrm>
            <a:prstGeom prst="rect">
              <a:avLst/>
            </a:prstGeom>
            <a:noFill/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BVd</a:t>
              </a:r>
              <a:endPara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DVd</a:t>
              </a:r>
              <a:endPara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cxnSp>
          <p:nvCxnSpPr>
            <p:cNvPr id="11" name="Straight Connector 11">
              <a:extLst>
                <a:ext uri="{FF2B5EF4-FFF2-40B4-BE49-F238E27FC236}">
                  <a16:creationId xmlns:a16="http://schemas.microsoft.com/office/drawing/2014/main" id="{9658B8D4-CF58-33DB-B6AB-29853ED55488}"/>
                </a:ext>
              </a:extLst>
            </p:cNvPr>
            <p:cNvCxnSpPr/>
            <p:nvPr/>
          </p:nvCxnSpPr>
          <p:spPr>
            <a:xfrm>
              <a:off x="3643005" y="3811175"/>
              <a:ext cx="324000" cy="0"/>
            </a:xfrm>
            <a:prstGeom prst="line">
              <a:avLst/>
            </a:prstGeom>
            <a:ln w="19050" cap="sq">
              <a:solidFill>
                <a:schemeClr val="tx2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7">
              <a:extLst>
                <a:ext uri="{FF2B5EF4-FFF2-40B4-BE49-F238E27FC236}">
                  <a16:creationId xmlns:a16="http://schemas.microsoft.com/office/drawing/2014/main" id="{39565503-BA7E-1A04-77BC-8F934535475A}"/>
                </a:ext>
              </a:extLst>
            </p:cNvPr>
            <p:cNvCxnSpPr/>
            <p:nvPr/>
          </p:nvCxnSpPr>
          <p:spPr>
            <a:xfrm>
              <a:off x="3643005" y="4073211"/>
              <a:ext cx="324000" cy="0"/>
            </a:xfrm>
            <a:prstGeom prst="line">
              <a:avLst/>
            </a:prstGeom>
            <a:ln w="19050" cap="sq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ectangle 26">
            <a:extLst>
              <a:ext uri="{FF2B5EF4-FFF2-40B4-BE49-F238E27FC236}">
                <a16:creationId xmlns:a16="http://schemas.microsoft.com/office/drawing/2014/main" id="{697F2F46-229E-D4B3-3235-CD5855433137}"/>
              </a:ext>
            </a:extLst>
          </p:cNvPr>
          <p:cNvSpPr/>
          <p:nvPr/>
        </p:nvSpPr>
        <p:spPr bwMode="auto">
          <a:xfrm>
            <a:off x="5399448" y="1848157"/>
            <a:ext cx="974883" cy="184666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8 months</a:t>
            </a:r>
          </a:p>
        </p:txBody>
      </p:sp>
      <p:sp>
        <p:nvSpPr>
          <p:cNvPr id="14" name="Rectangle 29">
            <a:extLst>
              <a:ext uri="{FF2B5EF4-FFF2-40B4-BE49-F238E27FC236}">
                <a16:creationId xmlns:a16="http://schemas.microsoft.com/office/drawing/2014/main" id="{EBB234B8-BDEF-F29E-56F6-9467C7E93F48}"/>
              </a:ext>
            </a:extLst>
          </p:cNvPr>
          <p:cNvSpPr/>
          <p:nvPr/>
        </p:nvSpPr>
        <p:spPr bwMode="auto">
          <a:xfrm>
            <a:off x="5930219" y="2533797"/>
            <a:ext cx="410369" cy="184666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F36633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69%</a:t>
            </a:r>
          </a:p>
        </p:txBody>
      </p:sp>
      <p:sp>
        <p:nvSpPr>
          <p:cNvPr id="15" name="Rectangle 30">
            <a:extLst>
              <a:ext uri="{FF2B5EF4-FFF2-40B4-BE49-F238E27FC236}">
                <a16:creationId xmlns:a16="http://schemas.microsoft.com/office/drawing/2014/main" id="{DCF14DE8-4DEE-0AC7-86CF-ADD56679E467}"/>
              </a:ext>
            </a:extLst>
          </p:cNvPr>
          <p:cNvSpPr/>
          <p:nvPr/>
        </p:nvSpPr>
        <p:spPr bwMode="auto">
          <a:xfrm>
            <a:off x="5930593" y="3527123"/>
            <a:ext cx="410369" cy="184666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6658A6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43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4CB7B39-74F2-EF08-D719-EF0CC2F473FE}"/>
              </a:ext>
            </a:extLst>
          </p:cNvPr>
          <p:cNvSpPr txBox="1"/>
          <p:nvPr/>
        </p:nvSpPr>
        <p:spPr>
          <a:xfrm>
            <a:off x="11177614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4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0D44941-97B9-F419-2A69-C017A68988A9}"/>
              </a:ext>
            </a:extLst>
          </p:cNvPr>
          <p:cNvSpPr txBox="1"/>
          <p:nvPr/>
        </p:nvSpPr>
        <p:spPr>
          <a:xfrm>
            <a:off x="10942869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40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800D5C7-86CF-98E8-EBE2-41E9CE409BEE}"/>
              </a:ext>
            </a:extLst>
          </p:cNvPr>
          <p:cNvSpPr txBox="1"/>
          <p:nvPr/>
        </p:nvSpPr>
        <p:spPr>
          <a:xfrm>
            <a:off x="10708117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9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2CB4B3-7460-5C61-7761-5AA95DF2D8DB}"/>
              </a:ext>
            </a:extLst>
          </p:cNvPr>
          <p:cNvSpPr txBox="1"/>
          <p:nvPr/>
        </p:nvSpPr>
        <p:spPr>
          <a:xfrm>
            <a:off x="10473365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8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0CD2322-1459-38A0-1CBD-977522F4C36B}"/>
              </a:ext>
            </a:extLst>
          </p:cNvPr>
          <p:cNvSpPr txBox="1"/>
          <p:nvPr/>
        </p:nvSpPr>
        <p:spPr>
          <a:xfrm>
            <a:off x="10238613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7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8BFEB13-B19F-A5B5-046A-6E41E0A06BEB}"/>
              </a:ext>
            </a:extLst>
          </p:cNvPr>
          <p:cNvSpPr txBox="1"/>
          <p:nvPr/>
        </p:nvSpPr>
        <p:spPr>
          <a:xfrm>
            <a:off x="10003861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6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90D0D3A-8AC3-BD2F-F972-B0EAF6FF87F6}"/>
              </a:ext>
            </a:extLst>
          </p:cNvPr>
          <p:cNvSpPr txBox="1"/>
          <p:nvPr/>
        </p:nvSpPr>
        <p:spPr>
          <a:xfrm>
            <a:off x="9769109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5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BFD6967-DD29-94B5-5AB7-510934FB116E}"/>
              </a:ext>
            </a:extLst>
          </p:cNvPr>
          <p:cNvSpPr txBox="1"/>
          <p:nvPr/>
        </p:nvSpPr>
        <p:spPr>
          <a:xfrm>
            <a:off x="9534357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4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DE07855-5C44-F11F-4346-9DCF2C24EA7E}"/>
              </a:ext>
            </a:extLst>
          </p:cNvPr>
          <p:cNvSpPr txBox="1"/>
          <p:nvPr/>
        </p:nvSpPr>
        <p:spPr>
          <a:xfrm>
            <a:off x="9299605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3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DA6ACB1-8922-95AD-4A7F-261BAC5F302E}"/>
              </a:ext>
            </a:extLst>
          </p:cNvPr>
          <p:cNvSpPr txBox="1"/>
          <p:nvPr/>
        </p:nvSpPr>
        <p:spPr>
          <a:xfrm>
            <a:off x="9064853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2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9866B1D-203D-2DDD-9E95-35AF47E4674D}"/>
              </a:ext>
            </a:extLst>
          </p:cNvPr>
          <p:cNvSpPr txBox="1"/>
          <p:nvPr/>
        </p:nvSpPr>
        <p:spPr>
          <a:xfrm>
            <a:off x="8830101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1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E380FFE-915C-C65D-09E4-D36AA5BB9A38}"/>
              </a:ext>
            </a:extLst>
          </p:cNvPr>
          <p:cNvSpPr txBox="1"/>
          <p:nvPr/>
        </p:nvSpPr>
        <p:spPr>
          <a:xfrm>
            <a:off x="8595349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0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4D796ED-F5C8-FE1F-63C1-F88A985F016D}"/>
              </a:ext>
            </a:extLst>
          </p:cNvPr>
          <p:cNvSpPr txBox="1"/>
          <p:nvPr/>
        </p:nvSpPr>
        <p:spPr>
          <a:xfrm>
            <a:off x="8360597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9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23E4E2B-57A0-B69D-511B-CC53D5F1E26A}"/>
              </a:ext>
            </a:extLst>
          </p:cNvPr>
          <p:cNvSpPr txBox="1"/>
          <p:nvPr/>
        </p:nvSpPr>
        <p:spPr>
          <a:xfrm>
            <a:off x="8125845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8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84EC45F-A84E-3F7B-F29F-59A60CCA3C8B}"/>
              </a:ext>
            </a:extLst>
          </p:cNvPr>
          <p:cNvSpPr txBox="1"/>
          <p:nvPr/>
        </p:nvSpPr>
        <p:spPr>
          <a:xfrm>
            <a:off x="7891093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7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4780136-1953-2B8B-F76C-277D78D075BA}"/>
              </a:ext>
            </a:extLst>
          </p:cNvPr>
          <p:cNvSpPr txBox="1"/>
          <p:nvPr/>
        </p:nvSpPr>
        <p:spPr>
          <a:xfrm>
            <a:off x="7656341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6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0B7B6C6-91BA-2C07-A1AB-D2B16B5AB20E}"/>
              </a:ext>
            </a:extLst>
          </p:cNvPr>
          <p:cNvSpPr txBox="1"/>
          <p:nvPr/>
        </p:nvSpPr>
        <p:spPr>
          <a:xfrm>
            <a:off x="7421589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5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9D70DE0-C9C3-3369-115C-57D82A65AD66}"/>
              </a:ext>
            </a:extLst>
          </p:cNvPr>
          <p:cNvSpPr txBox="1"/>
          <p:nvPr/>
        </p:nvSpPr>
        <p:spPr>
          <a:xfrm>
            <a:off x="7186837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4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FBAA5AD-6203-CEC1-6C3E-28E17FE95F82}"/>
              </a:ext>
            </a:extLst>
          </p:cNvPr>
          <p:cNvSpPr txBox="1"/>
          <p:nvPr/>
        </p:nvSpPr>
        <p:spPr>
          <a:xfrm>
            <a:off x="6952085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3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3895A23-79F9-02F2-83DB-7F3185888D4F}"/>
              </a:ext>
            </a:extLst>
          </p:cNvPr>
          <p:cNvSpPr txBox="1"/>
          <p:nvPr/>
        </p:nvSpPr>
        <p:spPr>
          <a:xfrm>
            <a:off x="6717333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2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E7FBC04-6870-A461-F5B5-04D23C11182A}"/>
              </a:ext>
            </a:extLst>
          </p:cNvPr>
          <p:cNvSpPr txBox="1"/>
          <p:nvPr/>
        </p:nvSpPr>
        <p:spPr>
          <a:xfrm>
            <a:off x="6482581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1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8F25B8D-2C26-FC70-D1FA-97820B2AE5AB}"/>
              </a:ext>
            </a:extLst>
          </p:cNvPr>
          <p:cNvSpPr txBox="1"/>
          <p:nvPr/>
        </p:nvSpPr>
        <p:spPr>
          <a:xfrm>
            <a:off x="6247829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0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A7D16D4-F51F-C4E7-2185-9394A59FCC60}"/>
              </a:ext>
            </a:extLst>
          </p:cNvPr>
          <p:cNvSpPr txBox="1"/>
          <p:nvPr/>
        </p:nvSpPr>
        <p:spPr>
          <a:xfrm>
            <a:off x="6013077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9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F5FD544-F3B9-32C1-EA54-C2D751746FD9}"/>
              </a:ext>
            </a:extLst>
          </p:cNvPr>
          <p:cNvSpPr txBox="1"/>
          <p:nvPr/>
        </p:nvSpPr>
        <p:spPr>
          <a:xfrm>
            <a:off x="5778325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8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76324A1-6849-2CF6-6212-9D787AB8D6BF}"/>
              </a:ext>
            </a:extLst>
          </p:cNvPr>
          <p:cNvSpPr txBox="1"/>
          <p:nvPr/>
        </p:nvSpPr>
        <p:spPr>
          <a:xfrm>
            <a:off x="5543573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7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6472FEC-6C71-F472-ED0B-2C63D52D6A88}"/>
              </a:ext>
            </a:extLst>
          </p:cNvPr>
          <p:cNvSpPr txBox="1"/>
          <p:nvPr/>
        </p:nvSpPr>
        <p:spPr>
          <a:xfrm>
            <a:off x="5308821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6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AEFABBD-64AE-33D6-BC8E-D696241C0036}"/>
              </a:ext>
            </a:extLst>
          </p:cNvPr>
          <p:cNvSpPr txBox="1"/>
          <p:nvPr/>
        </p:nvSpPr>
        <p:spPr>
          <a:xfrm>
            <a:off x="5074069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5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FD43C51-3305-2005-5799-58A387DFA777}"/>
              </a:ext>
            </a:extLst>
          </p:cNvPr>
          <p:cNvSpPr txBox="1"/>
          <p:nvPr/>
        </p:nvSpPr>
        <p:spPr>
          <a:xfrm>
            <a:off x="4839317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4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11D6659-DDAE-5A5D-0A77-5BA6DEC94A30}"/>
              </a:ext>
            </a:extLst>
          </p:cNvPr>
          <p:cNvSpPr txBox="1"/>
          <p:nvPr/>
        </p:nvSpPr>
        <p:spPr>
          <a:xfrm>
            <a:off x="4604565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3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B384DF8-35BA-A1DA-B000-BF4D12A3E43B}"/>
              </a:ext>
            </a:extLst>
          </p:cNvPr>
          <p:cNvSpPr txBox="1"/>
          <p:nvPr/>
        </p:nvSpPr>
        <p:spPr>
          <a:xfrm>
            <a:off x="4369813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2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20AC023-8EC0-98A7-9DB4-0034BEBBCA7C}"/>
              </a:ext>
            </a:extLst>
          </p:cNvPr>
          <p:cNvSpPr txBox="1"/>
          <p:nvPr/>
        </p:nvSpPr>
        <p:spPr>
          <a:xfrm>
            <a:off x="4135061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1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25651E7-853B-318F-1A8B-9A2D58BD8791}"/>
              </a:ext>
            </a:extLst>
          </p:cNvPr>
          <p:cNvSpPr txBox="1"/>
          <p:nvPr/>
        </p:nvSpPr>
        <p:spPr>
          <a:xfrm>
            <a:off x="3900309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0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E8861C3-5EBE-5AC2-E6BB-D3B0A7D67349}"/>
              </a:ext>
            </a:extLst>
          </p:cNvPr>
          <p:cNvSpPr txBox="1"/>
          <p:nvPr/>
        </p:nvSpPr>
        <p:spPr>
          <a:xfrm>
            <a:off x="3665557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9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8672519-A6B5-FC52-93DB-604E976CF864}"/>
              </a:ext>
            </a:extLst>
          </p:cNvPr>
          <p:cNvSpPr txBox="1"/>
          <p:nvPr/>
        </p:nvSpPr>
        <p:spPr>
          <a:xfrm>
            <a:off x="3430805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8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97862B1-F6C8-158A-3E08-D62289D49EB6}"/>
              </a:ext>
            </a:extLst>
          </p:cNvPr>
          <p:cNvSpPr txBox="1"/>
          <p:nvPr/>
        </p:nvSpPr>
        <p:spPr>
          <a:xfrm>
            <a:off x="3196053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7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B772917-E8E4-4BA0-F51A-DDC772F04C5F}"/>
              </a:ext>
            </a:extLst>
          </p:cNvPr>
          <p:cNvSpPr txBox="1"/>
          <p:nvPr/>
        </p:nvSpPr>
        <p:spPr>
          <a:xfrm>
            <a:off x="2961301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6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FCCD0E3-14C9-12BC-276D-852783B3B0BC}"/>
              </a:ext>
            </a:extLst>
          </p:cNvPr>
          <p:cNvSpPr txBox="1"/>
          <p:nvPr/>
        </p:nvSpPr>
        <p:spPr>
          <a:xfrm>
            <a:off x="2726549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5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027BA36-5F33-C76F-C7A7-A7E3D38C83EE}"/>
              </a:ext>
            </a:extLst>
          </p:cNvPr>
          <p:cNvSpPr txBox="1"/>
          <p:nvPr/>
        </p:nvSpPr>
        <p:spPr>
          <a:xfrm>
            <a:off x="2491797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4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48FD5BC-573D-DA8E-A4F5-71DD2EE97F7C}"/>
              </a:ext>
            </a:extLst>
          </p:cNvPr>
          <p:cNvSpPr txBox="1"/>
          <p:nvPr/>
        </p:nvSpPr>
        <p:spPr>
          <a:xfrm>
            <a:off x="2257045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EB26BDC-EA1F-9D63-6462-DE55961FD66F}"/>
              </a:ext>
            </a:extLst>
          </p:cNvPr>
          <p:cNvSpPr txBox="1"/>
          <p:nvPr/>
        </p:nvSpPr>
        <p:spPr>
          <a:xfrm>
            <a:off x="2022293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9A12D47-B5A1-804D-39FB-965A676EA6CB}"/>
              </a:ext>
            </a:extLst>
          </p:cNvPr>
          <p:cNvSpPr txBox="1"/>
          <p:nvPr/>
        </p:nvSpPr>
        <p:spPr>
          <a:xfrm>
            <a:off x="1787541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132615D-7F81-43DA-3644-6369935F4F43}"/>
              </a:ext>
            </a:extLst>
          </p:cNvPr>
          <p:cNvSpPr txBox="1"/>
          <p:nvPr/>
        </p:nvSpPr>
        <p:spPr>
          <a:xfrm>
            <a:off x="1552789" y="4467698"/>
            <a:ext cx="216041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0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26E6915-699F-2519-4A6C-94E5852344A6}"/>
              </a:ext>
            </a:extLst>
          </p:cNvPr>
          <p:cNvSpPr txBox="1"/>
          <p:nvPr/>
        </p:nvSpPr>
        <p:spPr>
          <a:xfrm>
            <a:off x="1349788" y="4705320"/>
            <a:ext cx="10046842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Time since randomization (months)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34F4000-DAC4-4224-05E8-77C5BC3402BB}"/>
              </a:ext>
            </a:extLst>
          </p:cNvPr>
          <p:cNvSpPr txBox="1"/>
          <p:nvPr/>
        </p:nvSpPr>
        <p:spPr>
          <a:xfrm rot="16200000">
            <a:off x="-433348" y="3056420"/>
            <a:ext cx="2362877" cy="36933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Proportion alive and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progression fre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79E87C6-6F13-54AF-A73A-723AE389EC74}"/>
              </a:ext>
            </a:extLst>
          </p:cNvPr>
          <p:cNvSpPr txBox="1"/>
          <p:nvPr/>
        </p:nvSpPr>
        <p:spPr>
          <a:xfrm>
            <a:off x="1009853" y="1969494"/>
            <a:ext cx="250339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.0</a:t>
            </a:r>
          </a:p>
        </p:txBody>
      </p:sp>
      <p:grpSp>
        <p:nvGrpSpPr>
          <p:cNvPr id="62" name="Group 177">
            <a:extLst>
              <a:ext uri="{FF2B5EF4-FFF2-40B4-BE49-F238E27FC236}">
                <a16:creationId xmlns:a16="http://schemas.microsoft.com/office/drawing/2014/main" id="{A8D70715-EF15-9F9B-D3B6-83F19A6F01A4}"/>
              </a:ext>
            </a:extLst>
          </p:cNvPr>
          <p:cNvGrpSpPr/>
          <p:nvPr/>
        </p:nvGrpSpPr>
        <p:grpSpPr>
          <a:xfrm>
            <a:off x="1170208" y="5293805"/>
            <a:ext cx="10240907" cy="246221"/>
            <a:chOff x="1188464" y="4775785"/>
            <a:chExt cx="10240907" cy="246221"/>
          </a:xfrm>
        </p:grpSpPr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EE59E1F2-B250-84DE-2467-EF12F22923A7}"/>
                </a:ext>
              </a:extLst>
            </p:cNvPr>
            <p:cNvSpPr txBox="1"/>
            <p:nvPr/>
          </p:nvSpPr>
          <p:spPr>
            <a:xfrm>
              <a:off x="11177371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8)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75E78D12-65E1-0C93-3FC5-235A96A018EB}"/>
                </a:ext>
              </a:extLst>
            </p:cNvPr>
            <p:cNvSpPr txBox="1"/>
            <p:nvPr/>
          </p:nvSpPr>
          <p:spPr>
            <a:xfrm>
              <a:off x="10942718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8)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AAEF3BA0-7850-5860-72B9-A1626080CC30}"/>
                </a:ext>
              </a:extLst>
            </p:cNvPr>
            <p:cNvSpPr txBox="1"/>
            <p:nvPr/>
          </p:nvSpPr>
          <p:spPr>
            <a:xfrm>
              <a:off x="10708069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8)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13781ACC-4D44-119E-7087-9AE05642F611}"/>
                </a:ext>
              </a:extLst>
            </p:cNvPr>
            <p:cNvSpPr txBox="1"/>
            <p:nvPr/>
          </p:nvSpPr>
          <p:spPr>
            <a:xfrm>
              <a:off x="10473420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8)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EEB1FDD-4B3F-F78F-4C49-490FCBB64849}"/>
                </a:ext>
              </a:extLst>
            </p:cNvPr>
            <p:cNvSpPr txBox="1"/>
            <p:nvPr/>
          </p:nvSpPr>
          <p:spPr>
            <a:xfrm>
              <a:off x="10238771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8)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90523890-27FF-2BC0-7AA4-23ACCE184BD3}"/>
                </a:ext>
              </a:extLst>
            </p:cNvPr>
            <p:cNvSpPr txBox="1"/>
            <p:nvPr/>
          </p:nvSpPr>
          <p:spPr>
            <a:xfrm>
              <a:off x="10004122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8)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7FD7B69D-88AB-F714-21E7-CC3AC5E7C73E}"/>
                </a:ext>
              </a:extLst>
            </p:cNvPr>
            <p:cNvSpPr txBox="1"/>
            <p:nvPr/>
          </p:nvSpPr>
          <p:spPr>
            <a:xfrm>
              <a:off x="9769473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8)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5A2BE48E-B157-A4A1-9A86-9E7F93B1B667}"/>
                </a:ext>
              </a:extLst>
            </p:cNvPr>
            <p:cNvSpPr txBox="1"/>
            <p:nvPr/>
          </p:nvSpPr>
          <p:spPr>
            <a:xfrm>
              <a:off x="9534824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7)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79A3FF1-3DE8-2803-E975-62F021F18995}"/>
                </a:ext>
              </a:extLst>
            </p:cNvPr>
            <p:cNvSpPr txBox="1"/>
            <p:nvPr/>
          </p:nvSpPr>
          <p:spPr>
            <a:xfrm>
              <a:off x="9300175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6)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0E9648A0-FB40-4686-3254-9F481CBDEC9D}"/>
                </a:ext>
              </a:extLst>
            </p:cNvPr>
            <p:cNvSpPr txBox="1"/>
            <p:nvPr/>
          </p:nvSpPr>
          <p:spPr>
            <a:xfrm>
              <a:off x="9065526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6)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131DDEB9-408B-EF63-C001-B21C5DC49C54}"/>
                </a:ext>
              </a:extLst>
            </p:cNvPr>
            <p:cNvSpPr txBox="1"/>
            <p:nvPr/>
          </p:nvSpPr>
          <p:spPr>
            <a:xfrm>
              <a:off x="8830877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9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4)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758BF770-3809-5319-0D51-8DB210309FD6}"/>
                </a:ext>
              </a:extLst>
            </p:cNvPr>
            <p:cNvSpPr txBox="1"/>
            <p:nvPr/>
          </p:nvSpPr>
          <p:spPr>
            <a:xfrm>
              <a:off x="8596228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4)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555DC883-19A0-8F6F-E0C6-B73169D7BD63}"/>
                </a:ext>
              </a:extLst>
            </p:cNvPr>
            <p:cNvSpPr txBox="1"/>
            <p:nvPr/>
          </p:nvSpPr>
          <p:spPr>
            <a:xfrm>
              <a:off x="8361579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3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4)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43FB0F50-5609-201E-7138-47B64836B5A3}"/>
                </a:ext>
              </a:extLst>
            </p:cNvPr>
            <p:cNvSpPr txBox="1"/>
            <p:nvPr/>
          </p:nvSpPr>
          <p:spPr>
            <a:xfrm>
              <a:off x="8126930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39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3)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2DA3816D-53E5-570E-602C-2C5B83BC11F2}"/>
                </a:ext>
              </a:extLst>
            </p:cNvPr>
            <p:cNvSpPr txBox="1"/>
            <p:nvPr/>
          </p:nvSpPr>
          <p:spPr>
            <a:xfrm>
              <a:off x="7892281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5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51)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BC54D891-E7D2-8264-D959-67ECBF86C85F}"/>
                </a:ext>
              </a:extLst>
            </p:cNvPr>
            <p:cNvSpPr txBox="1"/>
            <p:nvPr/>
          </p:nvSpPr>
          <p:spPr>
            <a:xfrm>
              <a:off x="7657632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59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49)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1D9CAF89-4D49-AFF6-8C5B-C6B5A8A5448B}"/>
                </a:ext>
              </a:extLst>
            </p:cNvPr>
            <p:cNvSpPr txBox="1"/>
            <p:nvPr/>
          </p:nvSpPr>
          <p:spPr>
            <a:xfrm>
              <a:off x="7422983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6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48)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827C3FEF-F8E3-E9D4-4400-7EE3FD1CB5F3}"/>
                </a:ext>
              </a:extLst>
            </p:cNvPr>
            <p:cNvSpPr txBox="1"/>
            <p:nvPr/>
          </p:nvSpPr>
          <p:spPr>
            <a:xfrm>
              <a:off x="7188334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6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45)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8516DB3E-2291-88E2-BB0A-D1CA1564C6D3}"/>
                </a:ext>
              </a:extLst>
            </p:cNvPr>
            <p:cNvSpPr txBox="1"/>
            <p:nvPr/>
          </p:nvSpPr>
          <p:spPr>
            <a:xfrm>
              <a:off x="6953685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67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44)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1737B83F-C136-B0D2-8F22-91B18FC90364}"/>
                </a:ext>
              </a:extLst>
            </p:cNvPr>
            <p:cNvSpPr txBox="1"/>
            <p:nvPr/>
          </p:nvSpPr>
          <p:spPr>
            <a:xfrm>
              <a:off x="6719036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68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43)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0F1BFE20-1036-0C69-E7E7-9566E2AE87AA}"/>
                </a:ext>
              </a:extLst>
            </p:cNvPr>
            <p:cNvSpPr txBox="1"/>
            <p:nvPr/>
          </p:nvSpPr>
          <p:spPr>
            <a:xfrm>
              <a:off x="6484387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7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38)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8FE0E79C-30CF-51C4-E21D-9C9B13C877FA}"/>
                </a:ext>
              </a:extLst>
            </p:cNvPr>
            <p:cNvSpPr txBox="1"/>
            <p:nvPr/>
          </p:nvSpPr>
          <p:spPr>
            <a:xfrm>
              <a:off x="6249738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78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35)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C168674F-D4DA-7180-F1C3-2CF0326BAAF3}"/>
                </a:ext>
              </a:extLst>
            </p:cNvPr>
            <p:cNvSpPr txBox="1"/>
            <p:nvPr/>
          </p:nvSpPr>
          <p:spPr>
            <a:xfrm>
              <a:off x="6015089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8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33)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08CF08B9-F9F6-FD1F-6164-39EFD7178F56}"/>
                </a:ext>
              </a:extLst>
            </p:cNvPr>
            <p:cNvSpPr txBox="1"/>
            <p:nvPr/>
          </p:nvSpPr>
          <p:spPr>
            <a:xfrm>
              <a:off x="5780440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87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28)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E2F254B4-3F8E-D044-86B3-5D3A4EA13088}"/>
                </a:ext>
              </a:extLst>
            </p:cNvPr>
            <p:cNvSpPr txBox="1"/>
            <p:nvPr/>
          </p:nvSpPr>
          <p:spPr>
            <a:xfrm>
              <a:off x="5545791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9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24)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8159E713-02F2-3B35-5FD3-C934991CB37D}"/>
                </a:ext>
              </a:extLst>
            </p:cNvPr>
            <p:cNvSpPr txBox="1"/>
            <p:nvPr/>
          </p:nvSpPr>
          <p:spPr>
            <a:xfrm>
              <a:off x="5311142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94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21)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AD2EE3DF-AC1D-C3B5-8E7A-3603BE0F771A}"/>
                </a:ext>
              </a:extLst>
            </p:cNvPr>
            <p:cNvSpPr txBox="1"/>
            <p:nvPr/>
          </p:nvSpPr>
          <p:spPr>
            <a:xfrm>
              <a:off x="5076493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99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19)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2CA11243-036A-F777-BF2D-BE91971012C1}"/>
                </a:ext>
              </a:extLst>
            </p:cNvPr>
            <p:cNvSpPr txBox="1"/>
            <p:nvPr/>
          </p:nvSpPr>
          <p:spPr>
            <a:xfrm>
              <a:off x="4841844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0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16)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DE44A4DE-1EA4-B5FE-B9B7-F18667CAABED}"/>
                </a:ext>
              </a:extLst>
            </p:cNvPr>
            <p:cNvSpPr txBox="1"/>
            <p:nvPr/>
          </p:nvSpPr>
          <p:spPr>
            <a:xfrm>
              <a:off x="4607195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07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13)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45582D69-D24C-84F5-B4F1-B81B9A790E94}"/>
                </a:ext>
              </a:extLst>
            </p:cNvPr>
            <p:cNvSpPr txBox="1"/>
            <p:nvPr/>
          </p:nvSpPr>
          <p:spPr>
            <a:xfrm>
              <a:off x="4372546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1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06)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C44BF704-61E7-4F60-7E18-1732923C63B0}"/>
                </a:ext>
              </a:extLst>
            </p:cNvPr>
            <p:cNvSpPr txBox="1"/>
            <p:nvPr/>
          </p:nvSpPr>
          <p:spPr>
            <a:xfrm>
              <a:off x="4137897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24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7)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DB998D6F-0D8B-4EC4-6B70-56198AEC5394}"/>
                </a:ext>
              </a:extLst>
            </p:cNvPr>
            <p:cNvSpPr txBox="1"/>
            <p:nvPr/>
          </p:nvSpPr>
          <p:spPr>
            <a:xfrm>
              <a:off x="3903248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3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0)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1BE342D8-8E7C-736C-8AC1-B946388D94CA}"/>
                </a:ext>
              </a:extLst>
            </p:cNvPr>
            <p:cNvSpPr txBox="1"/>
            <p:nvPr/>
          </p:nvSpPr>
          <p:spPr>
            <a:xfrm>
              <a:off x="3668599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4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81)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35EB0FF3-8A3E-62D2-2C36-B6863B04C60E}"/>
                </a:ext>
              </a:extLst>
            </p:cNvPr>
            <p:cNvSpPr txBox="1"/>
            <p:nvPr/>
          </p:nvSpPr>
          <p:spPr>
            <a:xfrm>
              <a:off x="3433950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48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75)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FF0582ED-8CD3-715D-784C-016C909B650F}"/>
                </a:ext>
              </a:extLst>
            </p:cNvPr>
            <p:cNvSpPr txBox="1"/>
            <p:nvPr/>
          </p:nvSpPr>
          <p:spPr>
            <a:xfrm>
              <a:off x="3199301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5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71)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8540668F-283B-6EEC-2487-14E0FAD03BA8}"/>
                </a:ext>
              </a:extLst>
            </p:cNvPr>
            <p:cNvSpPr txBox="1"/>
            <p:nvPr/>
          </p:nvSpPr>
          <p:spPr>
            <a:xfrm>
              <a:off x="2964652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76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53)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FA09C05D-7920-55F3-BE70-01B1009AB1F9}"/>
                </a:ext>
              </a:extLst>
            </p:cNvPr>
            <p:cNvSpPr txBox="1"/>
            <p:nvPr/>
          </p:nvSpPr>
          <p:spPr>
            <a:xfrm>
              <a:off x="2730003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8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47)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86AB4129-73CF-2887-91FD-2406BBA9C057}"/>
                </a:ext>
              </a:extLst>
            </p:cNvPr>
            <p:cNvSpPr txBox="1"/>
            <p:nvPr/>
          </p:nvSpPr>
          <p:spPr>
            <a:xfrm>
              <a:off x="2495354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94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37)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B39DA62D-B48E-326B-3F11-AD0D13ABF3DD}"/>
                </a:ext>
              </a:extLst>
            </p:cNvPr>
            <p:cNvSpPr txBox="1"/>
            <p:nvPr/>
          </p:nvSpPr>
          <p:spPr>
            <a:xfrm>
              <a:off x="2260705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0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29)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49E6F4B0-6734-B276-BD48-F0A6CE05775B}"/>
                </a:ext>
              </a:extLst>
            </p:cNvPr>
            <p:cNvSpPr txBox="1"/>
            <p:nvPr/>
          </p:nvSpPr>
          <p:spPr>
            <a:xfrm>
              <a:off x="2026056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14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22)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39D434B5-3F94-0922-D381-94FE8B933862}"/>
                </a:ext>
              </a:extLst>
            </p:cNvPr>
            <p:cNvSpPr txBox="1"/>
            <p:nvPr/>
          </p:nvSpPr>
          <p:spPr>
            <a:xfrm>
              <a:off x="1791407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3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)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16501998-41BE-96AD-82E0-2C749DBE03E8}"/>
                </a:ext>
              </a:extLst>
            </p:cNvPr>
            <p:cNvSpPr txBox="1"/>
            <p:nvPr/>
          </p:nvSpPr>
          <p:spPr>
            <a:xfrm>
              <a:off x="1556758" y="4775785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5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0)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88DCF3F1-07A9-347F-675C-FBF4551FBE31}"/>
                </a:ext>
              </a:extLst>
            </p:cNvPr>
            <p:cNvSpPr txBox="1"/>
            <p:nvPr/>
          </p:nvSpPr>
          <p:spPr>
            <a:xfrm>
              <a:off x="1188464" y="4791630"/>
              <a:ext cx="353208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-20" normalizeH="0" baseline="0" noProof="0" err="1">
                  <a:ln>
                    <a:noFill/>
                  </a:ln>
                  <a:solidFill>
                    <a:srgbClr val="6658A6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DVd</a:t>
              </a:r>
              <a:endParaRPr kumimoji="0" lang="en-US" sz="1000" b="1" i="0" u="none" strike="noStrike" kern="1200" cap="none" spc="-20" normalizeH="0" baseline="0" noProof="0">
                <a:ln>
                  <a:noFill/>
                </a:ln>
                <a:solidFill>
                  <a:srgbClr val="6658A6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</p:grpSp>
      <p:grpSp>
        <p:nvGrpSpPr>
          <p:cNvPr id="106" name="Group 176">
            <a:extLst>
              <a:ext uri="{FF2B5EF4-FFF2-40B4-BE49-F238E27FC236}">
                <a16:creationId xmlns:a16="http://schemas.microsoft.com/office/drawing/2014/main" id="{08831F74-C92E-33C9-3A91-B2F33B60C7B3}"/>
              </a:ext>
            </a:extLst>
          </p:cNvPr>
          <p:cNvGrpSpPr/>
          <p:nvPr/>
        </p:nvGrpSpPr>
        <p:grpSpPr>
          <a:xfrm>
            <a:off x="1170208" y="4988914"/>
            <a:ext cx="10240907" cy="246221"/>
            <a:chOff x="1188464" y="4470894"/>
            <a:chExt cx="10240907" cy="246221"/>
          </a:xfrm>
        </p:grpSpPr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AFD55253-2099-4E93-0612-1164C2C81ADB}"/>
                </a:ext>
              </a:extLst>
            </p:cNvPr>
            <p:cNvSpPr txBox="1"/>
            <p:nvPr/>
          </p:nvSpPr>
          <p:spPr>
            <a:xfrm>
              <a:off x="11177371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1)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2B14555F-622D-74B8-0BE5-DA936097AEE3}"/>
                </a:ext>
              </a:extLst>
            </p:cNvPr>
            <p:cNvSpPr txBox="1"/>
            <p:nvPr/>
          </p:nvSpPr>
          <p:spPr>
            <a:xfrm>
              <a:off x="10942718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1)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6CC0374E-D5AC-B508-D771-1847AC36E47C}"/>
                </a:ext>
              </a:extLst>
            </p:cNvPr>
            <p:cNvSpPr txBox="1"/>
            <p:nvPr/>
          </p:nvSpPr>
          <p:spPr>
            <a:xfrm>
              <a:off x="10708069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1)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A3FF929B-27DE-9318-FB5E-FC3B4C836DEF}"/>
                </a:ext>
              </a:extLst>
            </p:cNvPr>
            <p:cNvSpPr txBox="1"/>
            <p:nvPr/>
          </p:nvSpPr>
          <p:spPr>
            <a:xfrm>
              <a:off x="10473420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1)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DB835B86-2E92-232C-126E-11914E2FC451}"/>
                </a:ext>
              </a:extLst>
            </p:cNvPr>
            <p:cNvSpPr txBox="1"/>
            <p:nvPr/>
          </p:nvSpPr>
          <p:spPr>
            <a:xfrm>
              <a:off x="10238771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6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1)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A8855F02-BFC4-FF79-4B28-552EA1CB9F0A}"/>
                </a:ext>
              </a:extLst>
            </p:cNvPr>
            <p:cNvSpPr txBox="1"/>
            <p:nvPr/>
          </p:nvSpPr>
          <p:spPr>
            <a:xfrm>
              <a:off x="10004122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8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0)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6E177679-5871-AC6C-63E6-010BAA4B89E1}"/>
                </a:ext>
              </a:extLst>
            </p:cNvPr>
            <p:cNvSpPr txBox="1"/>
            <p:nvPr/>
          </p:nvSpPr>
          <p:spPr>
            <a:xfrm>
              <a:off x="9769473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0)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51973BC6-183B-BA8F-0749-B62FB6E25067}"/>
                </a:ext>
              </a:extLst>
            </p:cNvPr>
            <p:cNvSpPr txBox="1"/>
            <p:nvPr/>
          </p:nvSpPr>
          <p:spPr>
            <a:xfrm>
              <a:off x="9534824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90)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28B70862-AAC1-FD44-EDB1-C0A270207DD0}"/>
                </a:ext>
              </a:extLst>
            </p:cNvPr>
            <p:cNvSpPr txBox="1"/>
            <p:nvPr/>
          </p:nvSpPr>
          <p:spPr>
            <a:xfrm>
              <a:off x="9300175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89)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71391E0D-E571-08C8-41FD-F91D91977A4B}"/>
                </a:ext>
              </a:extLst>
            </p:cNvPr>
            <p:cNvSpPr txBox="1"/>
            <p:nvPr/>
          </p:nvSpPr>
          <p:spPr>
            <a:xfrm>
              <a:off x="9065526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3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89)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FDAFF656-71B5-0225-E664-D8FFAA712B5E}"/>
                </a:ext>
              </a:extLst>
            </p:cNvPr>
            <p:cNvSpPr txBox="1"/>
            <p:nvPr/>
          </p:nvSpPr>
          <p:spPr>
            <a:xfrm>
              <a:off x="8830877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4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88)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0BD34B12-DEA1-356D-8D86-8AF2645639FD}"/>
                </a:ext>
              </a:extLst>
            </p:cNvPr>
            <p:cNvSpPr txBox="1"/>
            <p:nvPr/>
          </p:nvSpPr>
          <p:spPr>
            <a:xfrm>
              <a:off x="8596228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56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86)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D4A84890-5649-8EDE-2665-AD8037A707AD}"/>
                </a:ext>
              </a:extLst>
            </p:cNvPr>
            <p:cNvSpPr txBox="1"/>
            <p:nvPr/>
          </p:nvSpPr>
          <p:spPr>
            <a:xfrm>
              <a:off x="8361579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7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86)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FE079B9F-89CB-A2F6-8641-1D1D415F845B}"/>
                </a:ext>
              </a:extLst>
            </p:cNvPr>
            <p:cNvSpPr txBox="1"/>
            <p:nvPr/>
          </p:nvSpPr>
          <p:spPr>
            <a:xfrm>
              <a:off x="8126930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79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82)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35F67670-7A08-D8DA-EE21-8FC2640346AA}"/>
                </a:ext>
              </a:extLst>
            </p:cNvPr>
            <p:cNvSpPr txBox="1"/>
            <p:nvPr/>
          </p:nvSpPr>
          <p:spPr>
            <a:xfrm>
              <a:off x="7892281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94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81)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695D285B-AC9F-A1F1-0A60-BE408F4E8566}"/>
                </a:ext>
              </a:extLst>
            </p:cNvPr>
            <p:cNvSpPr txBox="1"/>
            <p:nvPr/>
          </p:nvSpPr>
          <p:spPr>
            <a:xfrm>
              <a:off x="7657632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0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79)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6EF7D065-8AB3-8E52-1705-BBA7200488BA}"/>
                </a:ext>
              </a:extLst>
            </p:cNvPr>
            <p:cNvSpPr txBox="1"/>
            <p:nvPr/>
          </p:nvSpPr>
          <p:spPr>
            <a:xfrm>
              <a:off x="7422983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1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78)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399929EF-B912-636F-69F5-D61C6465BFA4}"/>
                </a:ext>
              </a:extLst>
            </p:cNvPr>
            <p:cNvSpPr txBox="1"/>
            <p:nvPr/>
          </p:nvSpPr>
          <p:spPr>
            <a:xfrm>
              <a:off x="7188334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1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74)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75F15D9F-BA87-FC2F-D512-F39F695CA1DC}"/>
                </a:ext>
              </a:extLst>
            </p:cNvPr>
            <p:cNvSpPr txBox="1"/>
            <p:nvPr/>
          </p:nvSpPr>
          <p:spPr>
            <a:xfrm>
              <a:off x="6953685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18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71)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E7B1848B-5D9F-5C74-FEF9-999D2230ECF4}"/>
                </a:ext>
              </a:extLst>
            </p:cNvPr>
            <p:cNvSpPr txBox="1"/>
            <p:nvPr/>
          </p:nvSpPr>
          <p:spPr>
            <a:xfrm>
              <a:off x="6719036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2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70)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4904DA17-8FA4-F9B9-9D7F-AA79DBC35CAF}"/>
                </a:ext>
              </a:extLst>
            </p:cNvPr>
            <p:cNvSpPr txBox="1"/>
            <p:nvPr/>
          </p:nvSpPr>
          <p:spPr>
            <a:xfrm>
              <a:off x="6484387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2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69)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08AD8FD4-6BE4-642B-A4D1-393255D3EF2B}"/>
                </a:ext>
              </a:extLst>
            </p:cNvPr>
            <p:cNvSpPr txBox="1"/>
            <p:nvPr/>
          </p:nvSpPr>
          <p:spPr>
            <a:xfrm>
              <a:off x="6249738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2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67)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54F85462-6356-DC96-F23F-7A761872331E}"/>
                </a:ext>
              </a:extLst>
            </p:cNvPr>
            <p:cNvSpPr txBox="1"/>
            <p:nvPr/>
          </p:nvSpPr>
          <p:spPr>
            <a:xfrm>
              <a:off x="6015089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27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67)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AFE6C776-39F4-C7F4-6880-041405266D9B}"/>
                </a:ext>
              </a:extLst>
            </p:cNvPr>
            <p:cNvSpPr txBox="1"/>
            <p:nvPr/>
          </p:nvSpPr>
          <p:spPr>
            <a:xfrm>
              <a:off x="5780440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28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66)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18CEB377-58CF-C941-1919-13EAC69FCFCC}"/>
                </a:ext>
              </a:extLst>
            </p:cNvPr>
            <p:cNvSpPr txBox="1"/>
            <p:nvPr/>
          </p:nvSpPr>
          <p:spPr>
            <a:xfrm>
              <a:off x="5545791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3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63)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9CC0D6B6-868E-583E-F36C-262B01A61928}"/>
                </a:ext>
              </a:extLst>
            </p:cNvPr>
            <p:cNvSpPr txBox="1"/>
            <p:nvPr/>
          </p:nvSpPr>
          <p:spPr>
            <a:xfrm>
              <a:off x="5311142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37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60)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3CAB95F1-7268-91B4-F0AC-2D18FCC55BDA}"/>
                </a:ext>
              </a:extLst>
            </p:cNvPr>
            <p:cNvSpPr txBox="1"/>
            <p:nvPr/>
          </p:nvSpPr>
          <p:spPr>
            <a:xfrm>
              <a:off x="5076493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4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59)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8A20275B-2945-C776-62B9-1E2F75FD9B35}"/>
                </a:ext>
              </a:extLst>
            </p:cNvPr>
            <p:cNvSpPr txBox="1"/>
            <p:nvPr/>
          </p:nvSpPr>
          <p:spPr>
            <a:xfrm>
              <a:off x="4841844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47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53)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E8738745-B2AD-F8B8-96C0-4FC801E426D1}"/>
                </a:ext>
              </a:extLst>
            </p:cNvPr>
            <p:cNvSpPr txBox="1"/>
            <p:nvPr/>
          </p:nvSpPr>
          <p:spPr>
            <a:xfrm>
              <a:off x="4607195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5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51)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CA076A12-F94F-BEBA-C67F-6D55FADCD24A}"/>
                </a:ext>
              </a:extLst>
            </p:cNvPr>
            <p:cNvSpPr txBox="1"/>
            <p:nvPr/>
          </p:nvSpPr>
          <p:spPr>
            <a:xfrm>
              <a:off x="4372546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5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48)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BF8FDC16-015A-3333-4CC9-A812BCA109CC}"/>
                </a:ext>
              </a:extLst>
            </p:cNvPr>
            <p:cNvSpPr txBox="1"/>
            <p:nvPr/>
          </p:nvSpPr>
          <p:spPr>
            <a:xfrm>
              <a:off x="4137897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58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46)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97B539BF-73D0-D430-B309-BE1DB7B97A4C}"/>
                </a:ext>
              </a:extLst>
            </p:cNvPr>
            <p:cNvSpPr txBox="1"/>
            <p:nvPr/>
          </p:nvSpPr>
          <p:spPr>
            <a:xfrm>
              <a:off x="3903248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6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45)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439E1CD6-C14C-5440-94D1-BE8EFF038899}"/>
                </a:ext>
              </a:extLst>
            </p:cNvPr>
            <p:cNvSpPr txBox="1"/>
            <p:nvPr/>
          </p:nvSpPr>
          <p:spPr>
            <a:xfrm>
              <a:off x="3668599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7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39)</a:t>
              </a: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FACC96E1-68DC-822B-1F41-39024A0F4D2C}"/>
                </a:ext>
              </a:extLst>
            </p:cNvPr>
            <p:cNvSpPr txBox="1"/>
            <p:nvPr/>
          </p:nvSpPr>
          <p:spPr>
            <a:xfrm>
              <a:off x="3433950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7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36)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3F57864F-76D4-6B9C-8ED9-BAC2FF288EC8}"/>
                </a:ext>
              </a:extLst>
            </p:cNvPr>
            <p:cNvSpPr txBox="1"/>
            <p:nvPr/>
          </p:nvSpPr>
          <p:spPr>
            <a:xfrm>
              <a:off x="3199301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8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32)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07859B79-4501-D27F-F114-CBD68A57BB53}"/>
                </a:ext>
              </a:extLst>
            </p:cNvPr>
            <p:cNvSpPr txBox="1"/>
            <p:nvPr/>
          </p:nvSpPr>
          <p:spPr>
            <a:xfrm>
              <a:off x="2964652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19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28)</a:t>
              </a: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C2892B65-EF27-0952-6A2D-BD907A157735}"/>
                </a:ext>
              </a:extLst>
            </p:cNvPr>
            <p:cNvSpPr txBox="1"/>
            <p:nvPr/>
          </p:nvSpPr>
          <p:spPr>
            <a:xfrm>
              <a:off x="2730003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0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25)</a:t>
              </a: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439C24C4-2C5F-8280-1DFE-3BC468EA64F0}"/>
                </a:ext>
              </a:extLst>
            </p:cNvPr>
            <p:cNvSpPr txBox="1"/>
            <p:nvPr/>
          </p:nvSpPr>
          <p:spPr>
            <a:xfrm>
              <a:off x="2495354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0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21)</a:t>
              </a: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F9BF8FF0-F491-E4E6-2E82-361D0B6D6399}"/>
                </a:ext>
              </a:extLst>
            </p:cNvPr>
            <p:cNvSpPr txBox="1"/>
            <p:nvPr/>
          </p:nvSpPr>
          <p:spPr>
            <a:xfrm>
              <a:off x="2260705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1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7)</a:t>
              </a: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AE6A8FDB-F570-060A-B54A-BC673FEF180E}"/>
                </a:ext>
              </a:extLst>
            </p:cNvPr>
            <p:cNvSpPr txBox="1"/>
            <p:nvPr/>
          </p:nvSpPr>
          <p:spPr>
            <a:xfrm>
              <a:off x="2026056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2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13)</a:t>
              </a: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4E9E5322-25CE-CE13-2335-0D1B3A3F8B1B}"/>
                </a:ext>
              </a:extLst>
            </p:cNvPr>
            <p:cNvSpPr txBox="1"/>
            <p:nvPr/>
          </p:nvSpPr>
          <p:spPr>
            <a:xfrm>
              <a:off x="1791407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3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6)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FDC6616A-AC95-B03D-3B75-ACE63AFDB9E8}"/>
                </a:ext>
              </a:extLst>
            </p:cNvPr>
            <p:cNvSpPr txBox="1"/>
            <p:nvPr/>
          </p:nvSpPr>
          <p:spPr>
            <a:xfrm>
              <a:off x="1556758" y="4470894"/>
              <a:ext cx="2520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24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-20" normalizeH="0" baseline="0" noProof="0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(0)</a:t>
              </a: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02639CBF-BE31-F7F7-A7A5-0486FA112F3A}"/>
                </a:ext>
              </a:extLst>
            </p:cNvPr>
            <p:cNvSpPr txBox="1"/>
            <p:nvPr/>
          </p:nvSpPr>
          <p:spPr>
            <a:xfrm>
              <a:off x="1188464" y="4495077"/>
              <a:ext cx="353208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-20" normalizeH="0" baseline="0" noProof="0" err="1">
                  <a:ln>
                    <a:noFill/>
                  </a:ln>
                  <a:solidFill>
                    <a:srgbClr val="F36633"/>
                  </a:solidFill>
                  <a:effectLst/>
                  <a:uLnTx/>
                  <a:uFillTx/>
                  <a:latin typeface="Arial"/>
                  <a:ea typeface="+mn-ea"/>
                  <a:cs typeface="Noto Sans"/>
                </a:rPr>
                <a:t>BVd</a:t>
              </a:r>
              <a:endParaRPr kumimoji="0" lang="en-US" sz="1000" b="1" i="0" u="none" strike="noStrike" kern="1200" cap="none" spc="-20" normalizeH="0" baseline="0" noProof="0">
                <a:ln>
                  <a:noFill/>
                </a:ln>
                <a:solidFill>
                  <a:srgbClr val="F36633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</p:grpSp>
      <p:sp>
        <p:nvSpPr>
          <p:cNvPr id="150" name="TextBox 149">
            <a:extLst>
              <a:ext uri="{FF2B5EF4-FFF2-40B4-BE49-F238E27FC236}">
                <a16:creationId xmlns:a16="http://schemas.microsoft.com/office/drawing/2014/main" id="{7227ACBA-C001-2D60-BA11-D8C153A269D3}"/>
              </a:ext>
            </a:extLst>
          </p:cNvPr>
          <p:cNvSpPr txBox="1"/>
          <p:nvPr/>
        </p:nvSpPr>
        <p:spPr>
          <a:xfrm>
            <a:off x="811823" y="4621436"/>
            <a:ext cx="1094873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No. at ris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000" b="1" i="0" u="none" strike="noStrike" kern="1200" cap="none" spc="-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(No. of events)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02942F6F-69F0-DE10-1938-3C44CFF46B3C}"/>
              </a:ext>
            </a:extLst>
          </p:cNvPr>
          <p:cNvSpPr txBox="1"/>
          <p:nvPr/>
        </p:nvSpPr>
        <p:spPr>
          <a:xfrm>
            <a:off x="1009853" y="2429139"/>
            <a:ext cx="250339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0.8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2E00547F-C4F0-5EDF-DE52-32B1DC0D6695}"/>
              </a:ext>
            </a:extLst>
          </p:cNvPr>
          <p:cNvSpPr txBox="1"/>
          <p:nvPr/>
        </p:nvSpPr>
        <p:spPr>
          <a:xfrm>
            <a:off x="1009853" y="2888784"/>
            <a:ext cx="250339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0.6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235F9F00-ECCB-879F-4E36-A652E0EF22ED}"/>
              </a:ext>
            </a:extLst>
          </p:cNvPr>
          <p:cNvSpPr txBox="1"/>
          <p:nvPr/>
        </p:nvSpPr>
        <p:spPr>
          <a:xfrm>
            <a:off x="1009853" y="3348429"/>
            <a:ext cx="250339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0.4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7E131250-F937-CB60-9B91-3EF7B38BD117}"/>
              </a:ext>
            </a:extLst>
          </p:cNvPr>
          <p:cNvSpPr txBox="1"/>
          <p:nvPr/>
        </p:nvSpPr>
        <p:spPr>
          <a:xfrm>
            <a:off x="1009853" y="3808074"/>
            <a:ext cx="250339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0.2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0F958CF7-48B4-61E6-618B-D0C26926C4D2}"/>
              </a:ext>
            </a:extLst>
          </p:cNvPr>
          <p:cNvSpPr txBox="1"/>
          <p:nvPr/>
        </p:nvSpPr>
        <p:spPr>
          <a:xfrm>
            <a:off x="1009853" y="4267720"/>
            <a:ext cx="250339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0.0</a:t>
            </a:r>
          </a:p>
        </p:txBody>
      </p:sp>
      <p:cxnSp>
        <p:nvCxnSpPr>
          <p:cNvPr id="156" name="Straight Connector 184">
            <a:extLst>
              <a:ext uri="{FF2B5EF4-FFF2-40B4-BE49-F238E27FC236}">
                <a16:creationId xmlns:a16="http://schemas.microsoft.com/office/drawing/2014/main" id="{4620E491-620F-8B77-10E2-7B78F63C5A3E}"/>
              </a:ext>
            </a:extLst>
          </p:cNvPr>
          <p:cNvCxnSpPr/>
          <p:nvPr/>
        </p:nvCxnSpPr>
        <p:spPr>
          <a:xfrm>
            <a:off x="1292812" y="2064410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87">
            <a:extLst>
              <a:ext uri="{FF2B5EF4-FFF2-40B4-BE49-F238E27FC236}">
                <a16:creationId xmlns:a16="http://schemas.microsoft.com/office/drawing/2014/main" id="{16476770-4B9B-C967-C35D-CA6A18E99F4F}"/>
              </a:ext>
            </a:extLst>
          </p:cNvPr>
          <p:cNvCxnSpPr/>
          <p:nvPr/>
        </p:nvCxnSpPr>
        <p:spPr>
          <a:xfrm>
            <a:off x="1292812" y="4363560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88">
            <a:extLst>
              <a:ext uri="{FF2B5EF4-FFF2-40B4-BE49-F238E27FC236}">
                <a16:creationId xmlns:a16="http://schemas.microsoft.com/office/drawing/2014/main" id="{39AA8365-B140-9033-F663-4B4EA23A2B1E}"/>
              </a:ext>
            </a:extLst>
          </p:cNvPr>
          <p:cNvCxnSpPr>
            <a:cxnSpLocks/>
          </p:cNvCxnSpPr>
          <p:nvPr/>
        </p:nvCxnSpPr>
        <p:spPr>
          <a:xfrm rot="5400000">
            <a:off x="1633809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91">
            <a:extLst>
              <a:ext uri="{FF2B5EF4-FFF2-40B4-BE49-F238E27FC236}">
                <a16:creationId xmlns:a16="http://schemas.microsoft.com/office/drawing/2014/main" id="{35135D64-2E90-897E-F0EF-6D9FDEC4ABA4}"/>
              </a:ext>
            </a:extLst>
          </p:cNvPr>
          <p:cNvCxnSpPr>
            <a:cxnSpLocks/>
          </p:cNvCxnSpPr>
          <p:nvPr/>
        </p:nvCxnSpPr>
        <p:spPr>
          <a:xfrm rot="5400000">
            <a:off x="1868495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92">
            <a:extLst>
              <a:ext uri="{FF2B5EF4-FFF2-40B4-BE49-F238E27FC236}">
                <a16:creationId xmlns:a16="http://schemas.microsoft.com/office/drawing/2014/main" id="{C59CB11D-45CA-80B0-0B38-B82B51F6C216}"/>
              </a:ext>
            </a:extLst>
          </p:cNvPr>
          <p:cNvCxnSpPr>
            <a:cxnSpLocks/>
          </p:cNvCxnSpPr>
          <p:nvPr/>
        </p:nvCxnSpPr>
        <p:spPr>
          <a:xfrm rot="5400000">
            <a:off x="2103181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93">
            <a:extLst>
              <a:ext uri="{FF2B5EF4-FFF2-40B4-BE49-F238E27FC236}">
                <a16:creationId xmlns:a16="http://schemas.microsoft.com/office/drawing/2014/main" id="{5115F2D4-DD5B-8447-ABC0-0EBB46E4486D}"/>
              </a:ext>
            </a:extLst>
          </p:cNvPr>
          <p:cNvCxnSpPr>
            <a:cxnSpLocks/>
          </p:cNvCxnSpPr>
          <p:nvPr/>
        </p:nvCxnSpPr>
        <p:spPr>
          <a:xfrm rot="5400000">
            <a:off x="2337867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94">
            <a:extLst>
              <a:ext uri="{FF2B5EF4-FFF2-40B4-BE49-F238E27FC236}">
                <a16:creationId xmlns:a16="http://schemas.microsoft.com/office/drawing/2014/main" id="{33E2E1A1-6177-3C51-78A4-8036E87012D9}"/>
              </a:ext>
            </a:extLst>
          </p:cNvPr>
          <p:cNvCxnSpPr>
            <a:cxnSpLocks/>
          </p:cNvCxnSpPr>
          <p:nvPr/>
        </p:nvCxnSpPr>
        <p:spPr>
          <a:xfrm rot="5400000">
            <a:off x="2572553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95">
            <a:extLst>
              <a:ext uri="{FF2B5EF4-FFF2-40B4-BE49-F238E27FC236}">
                <a16:creationId xmlns:a16="http://schemas.microsoft.com/office/drawing/2014/main" id="{ADCB553C-DC5B-1DD2-FBFA-DA106E4FC455}"/>
              </a:ext>
            </a:extLst>
          </p:cNvPr>
          <p:cNvCxnSpPr>
            <a:cxnSpLocks/>
          </p:cNvCxnSpPr>
          <p:nvPr/>
        </p:nvCxnSpPr>
        <p:spPr>
          <a:xfrm rot="5400000">
            <a:off x="2807239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96">
            <a:extLst>
              <a:ext uri="{FF2B5EF4-FFF2-40B4-BE49-F238E27FC236}">
                <a16:creationId xmlns:a16="http://schemas.microsoft.com/office/drawing/2014/main" id="{F4A82B71-9711-524E-970D-8DD56B755671}"/>
              </a:ext>
            </a:extLst>
          </p:cNvPr>
          <p:cNvCxnSpPr>
            <a:cxnSpLocks/>
          </p:cNvCxnSpPr>
          <p:nvPr/>
        </p:nvCxnSpPr>
        <p:spPr>
          <a:xfrm rot="5400000">
            <a:off x="3041925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97">
            <a:extLst>
              <a:ext uri="{FF2B5EF4-FFF2-40B4-BE49-F238E27FC236}">
                <a16:creationId xmlns:a16="http://schemas.microsoft.com/office/drawing/2014/main" id="{D6744774-B64C-53AE-A9CF-AADE10D1CF39}"/>
              </a:ext>
            </a:extLst>
          </p:cNvPr>
          <p:cNvCxnSpPr>
            <a:cxnSpLocks/>
          </p:cNvCxnSpPr>
          <p:nvPr/>
        </p:nvCxnSpPr>
        <p:spPr>
          <a:xfrm rot="5400000">
            <a:off x="3276611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98">
            <a:extLst>
              <a:ext uri="{FF2B5EF4-FFF2-40B4-BE49-F238E27FC236}">
                <a16:creationId xmlns:a16="http://schemas.microsoft.com/office/drawing/2014/main" id="{57B2B871-CB3C-6C20-FF42-D7C9CA872543}"/>
              </a:ext>
            </a:extLst>
          </p:cNvPr>
          <p:cNvCxnSpPr>
            <a:cxnSpLocks/>
          </p:cNvCxnSpPr>
          <p:nvPr/>
        </p:nvCxnSpPr>
        <p:spPr>
          <a:xfrm rot="5400000">
            <a:off x="3511297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99">
            <a:extLst>
              <a:ext uri="{FF2B5EF4-FFF2-40B4-BE49-F238E27FC236}">
                <a16:creationId xmlns:a16="http://schemas.microsoft.com/office/drawing/2014/main" id="{CE3B7C9A-27B6-7219-7E02-A60783E1FD34}"/>
              </a:ext>
            </a:extLst>
          </p:cNvPr>
          <p:cNvCxnSpPr>
            <a:cxnSpLocks/>
          </p:cNvCxnSpPr>
          <p:nvPr/>
        </p:nvCxnSpPr>
        <p:spPr>
          <a:xfrm rot="5400000">
            <a:off x="3745983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200">
            <a:extLst>
              <a:ext uri="{FF2B5EF4-FFF2-40B4-BE49-F238E27FC236}">
                <a16:creationId xmlns:a16="http://schemas.microsoft.com/office/drawing/2014/main" id="{988C5CC6-FCEB-4112-017F-E82A843612C4}"/>
              </a:ext>
            </a:extLst>
          </p:cNvPr>
          <p:cNvCxnSpPr>
            <a:cxnSpLocks/>
          </p:cNvCxnSpPr>
          <p:nvPr/>
        </p:nvCxnSpPr>
        <p:spPr>
          <a:xfrm rot="5400000">
            <a:off x="3980669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201">
            <a:extLst>
              <a:ext uri="{FF2B5EF4-FFF2-40B4-BE49-F238E27FC236}">
                <a16:creationId xmlns:a16="http://schemas.microsoft.com/office/drawing/2014/main" id="{A50AF249-ADF8-B4F8-A0B5-F0EBE323F108}"/>
              </a:ext>
            </a:extLst>
          </p:cNvPr>
          <p:cNvCxnSpPr>
            <a:cxnSpLocks/>
          </p:cNvCxnSpPr>
          <p:nvPr/>
        </p:nvCxnSpPr>
        <p:spPr>
          <a:xfrm rot="5400000">
            <a:off x="4215355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202">
            <a:extLst>
              <a:ext uri="{FF2B5EF4-FFF2-40B4-BE49-F238E27FC236}">
                <a16:creationId xmlns:a16="http://schemas.microsoft.com/office/drawing/2014/main" id="{2A995A33-B8C6-1F8F-5F04-AEF2C34A5996}"/>
              </a:ext>
            </a:extLst>
          </p:cNvPr>
          <p:cNvCxnSpPr>
            <a:cxnSpLocks/>
          </p:cNvCxnSpPr>
          <p:nvPr/>
        </p:nvCxnSpPr>
        <p:spPr>
          <a:xfrm rot="5400000">
            <a:off x="4450041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203">
            <a:extLst>
              <a:ext uri="{FF2B5EF4-FFF2-40B4-BE49-F238E27FC236}">
                <a16:creationId xmlns:a16="http://schemas.microsoft.com/office/drawing/2014/main" id="{A33D4110-D254-539F-AAC7-A9CCCC377B3C}"/>
              </a:ext>
            </a:extLst>
          </p:cNvPr>
          <p:cNvCxnSpPr>
            <a:cxnSpLocks/>
          </p:cNvCxnSpPr>
          <p:nvPr/>
        </p:nvCxnSpPr>
        <p:spPr>
          <a:xfrm rot="5400000">
            <a:off x="4684727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204">
            <a:extLst>
              <a:ext uri="{FF2B5EF4-FFF2-40B4-BE49-F238E27FC236}">
                <a16:creationId xmlns:a16="http://schemas.microsoft.com/office/drawing/2014/main" id="{8E78F8B3-C5FA-93F4-77AD-AB70DF0526F6}"/>
              </a:ext>
            </a:extLst>
          </p:cNvPr>
          <p:cNvCxnSpPr>
            <a:cxnSpLocks/>
          </p:cNvCxnSpPr>
          <p:nvPr/>
        </p:nvCxnSpPr>
        <p:spPr>
          <a:xfrm rot="5400000">
            <a:off x="4919413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205">
            <a:extLst>
              <a:ext uri="{FF2B5EF4-FFF2-40B4-BE49-F238E27FC236}">
                <a16:creationId xmlns:a16="http://schemas.microsoft.com/office/drawing/2014/main" id="{170F26AF-9251-3772-0E3C-94654B3C3C3C}"/>
              </a:ext>
            </a:extLst>
          </p:cNvPr>
          <p:cNvCxnSpPr>
            <a:cxnSpLocks/>
          </p:cNvCxnSpPr>
          <p:nvPr/>
        </p:nvCxnSpPr>
        <p:spPr>
          <a:xfrm rot="5400000">
            <a:off x="5154099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206">
            <a:extLst>
              <a:ext uri="{FF2B5EF4-FFF2-40B4-BE49-F238E27FC236}">
                <a16:creationId xmlns:a16="http://schemas.microsoft.com/office/drawing/2014/main" id="{4EC43330-E222-80AB-D12E-4687D6ABDB3A}"/>
              </a:ext>
            </a:extLst>
          </p:cNvPr>
          <p:cNvCxnSpPr>
            <a:cxnSpLocks/>
          </p:cNvCxnSpPr>
          <p:nvPr/>
        </p:nvCxnSpPr>
        <p:spPr>
          <a:xfrm rot="5400000">
            <a:off x="5388785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207">
            <a:extLst>
              <a:ext uri="{FF2B5EF4-FFF2-40B4-BE49-F238E27FC236}">
                <a16:creationId xmlns:a16="http://schemas.microsoft.com/office/drawing/2014/main" id="{22067EA0-1B6A-B26F-D0DE-BC8E6E8DE095}"/>
              </a:ext>
            </a:extLst>
          </p:cNvPr>
          <p:cNvCxnSpPr>
            <a:cxnSpLocks/>
          </p:cNvCxnSpPr>
          <p:nvPr/>
        </p:nvCxnSpPr>
        <p:spPr>
          <a:xfrm rot="5400000">
            <a:off x="5623471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208">
            <a:extLst>
              <a:ext uri="{FF2B5EF4-FFF2-40B4-BE49-F238E27FC236}">
                <a16:creationId xmlns:a16="http://schemas.microsoft.com/office/drawing/2014/main" id="{0D600F29-BCE2-6F0C-66B0-763916FECD8A}"/>
              </a:ext>
            </a:extLst>
          </p:cNvPr>
          <p:cNvCxnSpPr>
            <a:cxnSpLocks/>
          </p:cNvCxnSpPr>
          <p:nvPr/>
        </p:nvCxnSpPr>
        <p:spPr>
          <a:xfrm rot="5400000">
            <a:off x="5858157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209">
            <a:extLst>
              <a:ext uri="{FF2B5EF4-FFF2-40B4-BE49-F238E27FC236}">
                <a16:creationId xmlns:a16="http://schemas.microsoft.com/office/drawing/2014/main" id="{00C6CEE2-151B-9E64-7147-C63C0DB32664}"/>
              </a:ext>
            </a:extLst>
          </p:cNvPr>
          <p:cNvCxnSpPr>
            <a:cxnSpLocks/>
          </p:cNvCxnSpPr>
          <p:nvPr/>
        </p:nvCxnSpPr>
        <p:spPr>
          <a:xfrm rot="5400000">
            <a:off x="6092843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210">
            <a:extLst>
              <a:ext uri="{FF2B5EF4-FFF2-40B4-BE49-F238E27FC236}">
                <a16:creationId xmlns:a16="http://schemas.microsoft.com/office/drawing/2014/main" id="{A2B7F894-2E1A-3697-08EB-B3CBFD99FF8C}"/>
              </a:ext>
            </a:extLst>
          </p:cNvPr>
          <p:cNvCxnSpPr>
            <a:cxnSpLocks/>
          </p:cNvCxnSpPr>
          <p:nvPr/>
        </p:nvCxnSpPr>
        <p:spPr>
          <a:xfrm rot="5400000">
            <a:off x="6327529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211">
            <a:extLst>
              <a:ext uri="{FF2B5EF4-FFF2-40B4-BE49-F238E27FC236}">
                <a16:creationId xmlns:a16="http://schemas.microsoft.com/office/drawing/2014/main" id="{BE1CD581-1039-7123-82A4-6ACE0A6DD458}"/>
              </a:ext>
            </a:extLst>
          </p:cNvPr>
          <p:cNvCxnSpPr>
            <a:cxnSpLocks/>
          </p:cNvCxnSpPr>
          <p:nvPr/>
        </p:nvCxnSpPr>
        <p:spPr>
          <a:xfrm rot="5400000">
            <a:off x="6562215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212">
            <a:extLst>
              <a:ext uri="{FF2B5EF4-FFF2-40B4-BE49-F238E27FC236}">
                <a16:creationId xmlns:a16="http://schemas.microsoft.com/office/drawing/2014/main" id="{CBD650B1-9F92-EEB1-C3AB-81BF38376B18}"/>
              </a:ext>
            </a:extLst>
          </p:cNvPr>
          <p:cNvCxnSpPr>
            <a:cxnSpLocks/>
          </p:cNvCxnSpPr>
          <p:nvPr/>
        </p:nvCxnSpPr>
        <p:spPr>
          <a:xfrm rot="5400000">
            <a:off x="6796901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213">
            <a:extLst>
              <a:ext uri="{FF2B5EF4-FFF2-40B4-BE49-F238E27FC236}">
                <a16:creationId xmlns:a16="http://schemas.microsoft.com/office/drawing/2014/main" id="{10AC5D0B-2D04-FD59-298B-4188D363B0EE}"/>
              </a:ext>
            </a:extLst>
          </p:cNvPr>
          <p:cNvCxnSpPr>
            <a:cxnSpLocks/>
          </p:cNvCxnSpPr>
          <p:nvPr/>
        </p:nvCxnSpPr>
        <p:spPr>
          <a:xfrm rot="5400000">
            <a:off x="7031587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214">
            <a:extLst>
              <a:ext uri="{FF2B5EF4-FFF2-40B4-BE49-F238E27FC236}">
                <a16:creationId xmlns:a16="http://schemas.microsoft.com/office/drawing/2014/main" id="{C64A00DE-B008-EF5B-8412-5DABA090518C}"/>
              </a:ext>
            </a:extLst>
          </p:cNvPr>
          <p:cNvCxnSpPr>
            <a:cxnSpLocks/>
          </p:cNvCxnSpPr>
          <p:nvPr/>
        </p:nvCxnSpPr>
        <p:spPr>
          <a:xfrm rot="5400000">
            <a:off x="7266273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215">
            <a:extLst>
              <a:ext uri="{FF2B5EF4-FFF2-40B4-BE49-F238E27FC236}">
                <a16:creationId xmlns:a16="http://schemas.microsoft.com/office/drawing/2014/main" id="{79B68720-8FED-9B58-F85A-1C145B8CF99B}"/>
              </a:ext>
            </a:extLst>
          </p:cNvPr>
          <p:cNvCxnSpPr>
            <a:cxnSpLocks/>
          </p:cNvCxnSpPr>
          <p:nvPr/>
        </p:nvCxnSpPr>
        <p:spPr>
          <a:xfrm rot="5400000">
            <a:off x="7500959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216">
            <a:extLst>
              <a:ext uri="{FF2B5EF4-FFF2-40B4-BE49-F238E27FC236}">
                <a16:creationId xmlns:a16="http://schemas.microsoft.com/office/drawing/2014/main" id="{D0C2C9CC-4341-3E29-F391-222B2D658925}"/>
              </a:ext>
            </a:extLst>
          </p:cNvPr>
          <p:cNvCxnSpPr>
            <a:cxnSpLocks/>
          </p:cNvCxnSpPr>
          <p:nvPr/>
        </p:nvCxnSpPr>
        <p:spPr>
          <a:xfrm rot="5400000">
            <a:off x="7735645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217">
            <a:extLst>
              <a:ext uri="{FF2B5EF4-FFF2-40B4-BE49-F238E27FC236}">
                <a16:creationId xmlns:a16="http://schemas.microsoft.com/office/drawing/2014/main" id="{8A93C8B8-1EB0-2E9F-7768-23F4431B3697}"/>
              </a:ext>
            </a:extLst>
          </p:cNvPr>
          <p:cNvCxnSpPr>
            <a:cxnSpLocks/>
          </p:cNvCxnSpPr>
          <p:nvPr/>
        </p:nvCxnSpPr>
        <p:spPr>
          <a:xfrm rot="5400000">
            <a:off x="7970331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218">
            <a:extLst>
              <a:ext uri="{FF2B5EF4-FFF2-40B4-BE49-F238E27FC236}">
                <a16:creationId xmlns:a16="http://schemas.microsoft.com/office/drawing/2014/main" id="{01054609-DD6A-5E90-4EDC-1BA43D1CBA77}"/>
              </a:ext>
            </a:extLst>
          </p:cNvPr>
          <p:cNvCxnSpPr>
            <a:cxnSpLocks/>
          </p:cNvCxnSpPr>
          <p:nvPr/>
        </p:nvCxnSpPr>
        <p:spPr>
          <a:xfrm rot="5400000">
            <a:off x="8205017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219">
            <a:extLst>
              <a:ext uri="{FF2B5EF4-FFF2-40B4-BE49-F238E27FC236}">
                <a16:creationId xmlns:a16="http://schemas.microsoft.com/office/drawing/2014/main" id="{16A3D300-34F7-F6C6-D521-48EFE7DEAA53}"/>
              </a:ext>
            </a:extLst>
          </p:cNvPr>
          <p:cNvCxnSpPr>
            <a:cxnSpLocks/>
          </p:cNvCxnSpPr>
          <p:nvPr/>
        </p:nvCxnSpPr>
        <p:spPr>
          <a:xfrm rot="5400000">
            <a:off x="8439703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220">
            <a:extLst>
              <a:ext uri="{FF2B5EF4-FFF2-40B4-BE49-F238E27FC236}">
                <a16:creationId xmlns:a16="http://schemas.microsoft.com/office/drawing/2014/main" id="{382697E0-471A-CDF1-1F77-F1127684E31C}"/>
              </a:ext>
            </a:extLst>
          </p:cNvPr>
          <p:cNvCxnSpPr>
            <a:cxnSpLocks/>
          </p:cNvCxnSpPr>
          <p:nvPr/>
        </p:nvCxnSpPr>
        <p:spPr>
          <a:xfrm rot="5400000">
            <a:off x="8674389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221">
            <a:extLst>
              <a:ext uri="{FF2B5EF4-FFF2-40B4-BE49-F238E27FC236}">
                <a16:creationId xmlns:a16="http://schemas.microsoft.com/office/drawing/2014/main" id="{70C2E67D-AF81-B859-1AA3-DA6A18A6854B}"/>
              </a:ext>
            </a:extLst>
          </p:cNvPr>
          <p:cNvCxnSpPr>
            <a:cxnSpLocks/>
          </p:cNvCxnSpPr>
          <p:nvPr/>
        </p:nvCxnSpPr>
        <p:spPr>
          <a:xfrm rot="5400000">
            <a:off x="8909075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222">
            <a:extLst>
              <a:ext uri="{FF2B5EF4-FFF2-40B4-BE49-F238E27FC236}">
                <a16:creationId xmlns:a16="http://schemas.microsoft.com/office/drawing/2014/main" id="{45838263-140B-E68B-6FF1-D3E4EA96C041}"/>
              </a:ext>
            </a:extLst>
          </p:cNvPr>
          <p:cNvCxnSpPr>
            <a:cxnSpLocks/>
          </p:cNvCxnSpPr>
          <p:nvPr/>
        </p:nvCxnSpPr>
        <p:spPr>
          <a:xfrm rot="5400000">
            <a:off x="9143761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223">
            <a:extLst>
              <a:ext uri="{FF2B5EF4-FFF2-40B4-BE49-F238E27FC236}">
                <a16:creationId xmlns:a16="http://schemas.microsoft.com/office/drawing/2014/main" id="{FF6A0BD2-73C9-03F2-E537-58D0C3BFA8BE}"/>
              </a:ext>
            </a:extLst>
          </p:cNvPr>
          <p:cNvCxnSpPr>
            <a:cxnSpLocks/>
          </p:cNvCxnSpPr>
          <p:nvPr/>
        </p:nvCxnSpPr>
        <p:spPr>
          <a:xfrm rot="5400000">
            <a:off x="9378447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224">
            <a:extLst>
              <a:ext uri="{FF2B5EF4-FFF2-40B4-BE49-F238E27FC236}">
                <a16:creationId xmlns:a16="http://schemas.microsoft.com/office/drawing/2014/main" id="{380368DB-614B-0BC6-BEF4-C33ACA271DD0}"/>
              </a:ext>
            </a:extLst>
          </p:cNvPr>
          <p:cNvCxnSpPr>
            <a:cxnSpLocks/>
          </p:cNvCxnSpPr>
          <p:nvPr/>
        </p:nvCxnSpPr>
        <p:spPr>
          <a:xfrm rot="5400000">
            <a:off x="9613133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225">
            <a:extLst>
              <a:ext uri="{FF2B5EF4-FFF2-40B4-BE49-F238E27FC236}">
                <a16:creationId xmlns:a16="http://schemas.microsoft.com/office/drawing/2014/main" id="{EFD1A86C-CD4A-5589-0D4C-EB856650901B}"/>
              </a:ext>
            </a:extLst>
          </p:cNvPr>
          <p:cNvCxnSpPr>
            <a:cxnSpLocks/>
          </p:cNvCxnSpPr>
          <p:nvPr/>
        </p:nvCxnSpPr>
        <p:spPr>
          <a:xfrm rot="5400000">
            <a:off x="9847819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Connector 226">
            <a:extLst>
              <a:ext uri="{FF2B5EF4-FFF2-40B4-BE49-F238E27FC236}">
                <a16:creationId xmlns:a16="http://schemas.microsoft.com/office/drawing/2014/main" id="{B69A96A9-099F-832D-ED0E-F8938462DB4A}"/>
              </a:ext>
            </a:extLst>
          </p:cNvPr>
          <p:cNvCxnSpPr>
            <a:cxnSpLocks/>
          </p:cNvCxnSpPr>
          <p:nvPr/>
        </p:nvCxnSpPr>
        <p:spPr>
          <a:xfrm rot="5400000">
            <a:off x="10082505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227">
            <a:extLst>
              <a:ext uri="{FF2B5EF4-FFF2-40B4-BE49-F238E27FC236}">
                <a16:creationId xmlns:a16="http://schemas.microsoft.com/office/drawing/2014/main" id="{774F5BDF-941F-0FB1-D755-EA78A6ED737F}"/>
              </a:ext>
            </a:extLst>
          </p:cNvPr>
          <p:cNvCxnSpPr>
            <a:cxnSpLocks/>
          </p:cNvCxnSpPr>
          <p:nvPr/>
        </p:nvCxnSpPr>
        <p:spPr>
          <a:xfrm rot="5400000">
            <a:off x="10317191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228">
            <a:extLst>
              <a:ext uri="{FF2B5EF4-FFF2-40B4-BE49-F238E27FC236}">
                <a16:creationId xmlns:a16="http://schemas.microsoft.com/office/drawing/2014/main" id="{8CF41D73-2C3A-8C07-9018-B1374B1215EE}"/>
              </a:ext>
            </a:extLst>
          </p:cNvPr>
          <p:cNvCxnSpPr>
            <a:cxnSpLocks/>
          </p:cNvCxnSpPr>
          <p:nvPr/>
        </p:nvCxnSpPr>
        <p:spPr>
          <a:xfrm rot="5400000">
            <a:off x="10551877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229">
            <a:extLst>
              <a:ext uri="{FF2B5EF4-FFF2-40B4-BE49-F238E27FC236}">
                <a16:creationId xmlns:a16="http://schemas.microsoft.com/office/drawing/2014/main" id="{B400E651-190D-AB01-91A3-614E5398A33E}"/>
              </a:ext>
            </a:extLst>
          </p:cNvPr>
          <p:cNvCxnSpPr>
            <a:cxnSpLocks/>
          </p:cNvCxnSpPr>
          <p:nvPr/>
        </p:nvCxnSpPr>
        <p:spPr>
          <a:xfrm rot="5400000">
            <a:off x="10786563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Connector 230">
            <a:extLst>
              <a:ext uri="{FF2B5EF4-FFF2-40B4-BE49-F238E27FC236}">
                <a16:creationId xmlns:a16="http://schemas.microsoft.com/office/drawing/2014/main" id="{1A17F629-AE32-5854-F6DF-0FA965CED858}"/>
              </a:ext>
            </a:extLst>
          </p:cNvPr>
          <p:cNvCxnSpPr>
            <a:cxnSpLocks/>
          </p:cNvCxnSpPr>
          <p:nvPr/>
        </p:nvCxnSpPr>
        <p:spPr>
          <a:xfrm rot="5400000">
            <a:off x="11021249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231">
            <a:extLst>
              <a:ext uri="{FF2B5EF4-FFF2-40B4-BE49-F238E27FC236}">
                <a16:creationId xmlns:a16="http://schemas.microsoft.com/office/drawing/2014/main" id="{E9F14D76-C04E-1187-6467-69D48E430740}"/>
              </a:ext>
            </a:extLst>
          </p:cNvPr>
          <p:cNvCxnSpPr>
            <a:cxnSpLocks/>
          </p:cNvCxnSpPr>
          <p:nvPr/>
        </p:nvCxnSpPr>
        <p:spPr>
          <a:xfrm rot="5400000">
            <a:off x="11255923" y="4444761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232">
            <a:extLst>
              <a:ext uri="{FF2B5EF4-FFF2-40B4-BE49-F238E27FC236}">
                <a16:creationId xmlns:a16="http://schemas.microsoft.com/office/drawing/2014/main" id="{71FDAB97-442F-AB2F-DFBD-8500B3D53D5C}"/>
              </a:ext>
            </a:extLst>
          </p:cNvPr>
          <p:cNvCxnSpPr/>
          <p:nvPr/>
        </p:nvCxnSpPr>
        <p:spPr>
          <a:xfrm>
            <a:off x="1292812" y="3903730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33">
            <a:extLst>
              <a:ext uri="{FF2B5EF4-FFF2-40B4-BE49-F238E27FC236}">
                <a16:creationId xmlns:a16="http://schemas.microsoft.com/office/drawing/2014/main" id="{BF060107-DB8E-F1A4-9FAA-770B96BDCA8E}"/>
              </a:ext>
            </a:extLst>
          </p:cNvPr>
          <p:cNvCxnSpPr/>
          <p:nvPr/>
        </p:nvCxnSpPr>
        <p:spPr>
          <a:xfrm>
            <a:off x="1292812" y="3443900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34">
            <a:extLst>
              <a:ext uri="{FF2B5EF4-FFF2-40B4-BE49-F238E27FC236}">
                <a16:creationId xmlns:a16="http://schemas.microsoft.com/office/drawing/2014/main" id="{3D02BBB4-7FFF-E3F6-D408-3B85E107DCCA}"/>
              </a:ext>
            </a:extLst>
          </p:cNvPr>
          <p:cNvCxnSpPr/>
          <p:nvPr/>
        </p:nvCxnSpPr>
        <p:spPr>
          <a:xfrm>
            <a:off x="1292812" y="2984070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35">
            <a:extLst>
              <a:ext uri="{FF2B5EF4-FFF2-40B4-BE49-F238E27FC236}">
                <a16:creationId xmlns:a16="http://schemas.microsoft.com/office/drawing/2014/main" id="{1A7CBE38-ECD2-236C-EEE2-C01307B82721}"/>
              </a:ext>
            </a:extLst>
          </p:cNvPr>
          <p:cNvCxnSpPr/>
          <p:nvPr/>
        </p:nvCxnSpPr>
        <p:spPr>
          <a:xfrm>
            <a:off x="1292812" y="2524240"/>
            <a:ext cx="54000" cy="0"/>
          </a:xfrm>
          <a:prstGeom prst="line">
            <a:avLst/>
          </a:prstGeom>
          <a:ln w="1270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39">
            <a:extLst>
              <a:ext uri="{FF2B5EF4-FFF2-40B4-BE49-F238E27FC236}">
                <a16:creationId xmlns:a16="http://schemas.microsoft.com/office/drawing/2014/main" id="{6C907DA0-CBCE-8738-80B5-CEBC654AFED9}"/>
              </a:ext>
            </a:extLst>
          </p:cNvPr>
          <p:cNvCxnSpPr/>
          <p:nvPr/>
        </p:nvCxnSpPr>
        <p:spPr>
          <a:xfrm>
            <a:off x="5885157" y="2063361"/>
            <a:ext cx="0" cy="2354400"/>
          </a:xfrm>
          <a:prstGeom prst="line">
            <a:avLst/>
          </a:prstGeom>
          <a:ln w="12700" cap="sq">
            <a:solidFill>
              <a:schemeClr val="tx1"/>
            </a:solidFill>
            <a:prstDash val="sys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40">
            <a:extLst>
              <a:ext uri="{FF2B5EF4-FFF2-40B4-BE49-F238E27FC236}">
                <a16:creationId xmlns:a16="http://schemas.microsoft.com/office/drawing/2014/main" id="{C5104769-6803-DB80-E2EA-5CA27D5EB88B}"/>
              </a:ext>
            </a:extLst>
          </p:cNvPr>
          <p:cNvCxnSpPr>
            <a:cxnSpLocks/>
          </p:cNvCxnSpPr>
          <p:nvPr/>
        </p:nvCxnSpPr>
        <p:spPr>
          <a:xfrm>
            <a:off x="4830908" y="3215393"/>
            <a:ext cx="0" cy="1202368"/>
          </a:xfrm>
          <a:prstGeom prst="line">
            <a:avLst/>
          </a:prstGeom>
          <a:ln w="12700" cap="sq">
            <a:solidFill>
              <a:schemeClr val="accent1"/>
            </a:solidFill>
            <a:prstDash val="sys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42">
            <a:extLst>
              <a:ext uri="{FF2B5EF4-FFF2-40B4-BE49-F238E27FC236}">
                <a16:creationId xmlns:a16="http://schemas.microsoft.com/office/drawing/2014/main" id="{736B5A3E-D9A3-808E-F658-37C07C38B07B}"/>
              </a:ext>
            </a:extLst>
          </p:cNvPr>
          <p:cNvCxnSpPr>
            <a:cxnSpLocks/>
          </p:cNvCxnSpPr>
          <p:nvPr/>
        </p:nvCxnSpPr>
        <p:spPr>
          <a:xfrm flipH="1">
            <a:off x="1346812" y="3210885"/>
            <a:ext cx="3484096" cy="0"/>
          </a:xfrm>
          <a:prstGeom prst="line">
            <a:avLst/>
          </a:prstGeom>
          <a:ln w="12700" cap="sq">
            <a:solidFill>
              <a:schemeClr val="accent1"/>
            </a:solidFill>
            <a:prstDash val="sys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43">
            <a:extLst>
              <a:ext uri="{FF2B5EF4-FFF2-40B4-BE49-F238E27FC236}">
                <a16:creationId xmlns:a16="http://schemas.microsoft.com/office/drawing/2014/main" id="{16D5BDDD-0E02-1D53-0A11-086039A86836}"/>
              </a:ext>
            </a:extLst>
          </p:cNvPr>
          <p:cNvCxnSpPr>
            <a:cxnSpLocks/>
          </p:cNvCxnSpPr>
          <p:nvPr/>
        </p:nvCxnSpPr>
        <p:spPr>
          <a:xfrm>
            <a:off x="10250637" y="3215393"/>
            <a:ext cx="0" cy="1202368"/>
          </a:xfrm>
          <a:prstGeom prst="line">
            <a:avLst/>
          </a:prstGeom>
          <a:ln w="12700" cap="sq">
            <a:solidFill>
              <a:schemeClr val="tx2"/>
            </a:solidFill>
            <a:prstDash val="sys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Freeform: Shape 34">
            <a:extLst>
              <a:ext uri="{FF2B5EF4-FFF2-40B4-BE49-F238E27FC236}">
                <a16:creationId xmlns:a16="http://schemas.microsoft.com/office/drawing/2014/main" id="{AFD6B770-3BE7-5EB1-77EA-4DB99BAF3EA2}"/>
              </a:ext>
            </a:extLst>
          </p:cNvPr>
          <p:cNvSpPr/>
          <p:nvPr/>
        </p:nvSpPr>
        <p:spPr bwMode="auto">
          <a:xfrm>
            <a:off x="1346812" y="2064410"/>
            <a:ext cx="10052793" cy="2353351"/>
          </a:xfrm>
          <a:custGeom>
            <a:avLst/>
            <a:gdLst>
              <a:gd name="connsiteX0" fmla="*/ 0 w 9953203"/>
              <a:gd name="connsiteY0" fmla="*/ 0 h 2362875"/>
              <a:gd name="connsiteX1" fmla="*/ 0 w 9953203"/>
              <a:gd name="connsiteY1" fmla="*/ 2362875 h 2362875"/>
              <a:gd name="connsiteX2" fmla="*/ 9953203 w 9953203"/>
              <a:gd name="connsiteY2" fmla="*/ 2362875 h 2362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53203" h="2362875">
                <a:moveTo>
                  <a:pt x="0" y="0"/>
                </a:moveTo>
                <a:lnTo>
                  <a:pt x="0" y="2362875"/>
                </a:lnTo>
                <a:lnTo>
                  <a:pt x="9953203" y="2362875"/>
                </a:lnTo>
              </a:path>
            </a:pathLst>
          </a:custGeom>
          <a:noFill/>
          <a:ln w="12700" cap="sq">
            <a:solidFill>
              <a:schemeClr val="tx1"/>
            </a:solidFill>
            <a:miter lim="800000"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Noto Sans"/>
            </a:endParaRPr>
          </a:p>
        </p:txBody>
      </p:sp>
      <p:cxnSp>
        <p:nvCxnSpPr>
          <p:cNvPr id="209" name="Straight Connector 245">
            <a:extLst>
              <a:ext uri="{FF2B5EF4-FFF2-40B4-BE49-F238E27FC236}">
                <a16:creationId xmlns:a16="http://schemas.microsoft.com/office/drawing/2014/main" id="{8799515C-CA85-AA87-EABF-1BECB243D2AE}"/>
              </a:ext>
            </a:extLst>
          </p:cNvPr>
          <p:cNvCxnSpPr>
            <a:cxnSpLocks/>
          </p:cNvCxnSpPr>
          <p:nvPr/>
        </p:nvCxnSpPr>
        <p:spPr>
          <a:xfrm flipH="1">
            <a:off x="4916584" y="3210885"/>
            <a:ext cx="5334053" cy="0"/>
          </a:xfrm>
          <a:prstGeom prst="line">
            <a:avLst/>
          </a:prstGeom>
          <a:ln w="12700" cap="sq">
            <a:solidFill>
              <a:schemeClr val="tx2"/>
            </a:solidFill>
            <a:prstDash val="sys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0" name="Group 742">
            <a:extLst>
              <a:ext uri="{FF2B5EF4-FFF2-40B4-BE49-F238E27FC236}">
                <a16:creationId xmlns:a16="http://schemas.microsoft.com/office/drawing/2014/main" id="{85FA6506-78D2-D8D0-0296-6D50D26855F7}"/>
              </a:ext>
            </a:extLst>
          </p:cNvPr>
          <p:cNvGrpSpPr/>
          <p:nvPr/>
        </p:nvGrpSpPr>
        <p:grpSpPr>
          <a:xfrm>
            <a:off x="1598567" y="2026313"/>
            <a:ext cx="9529808" cy="1946318"/>
            <a:chOff x="4329382" y="-2482792"/>
            <a:chExt cx="7298054" cy="1620773"/>
          </a:xfrm>
        </p:grpSpPr>
        <p:sp>
          <p:nvSpPr>
            <p:cNvPr id="211" name="Freeform: Shape 250">
              <a:extLst>
                <a:ext uri="{FF2B5EF4-FFF2-40B4-BE49-F238E27FC236}">
                  <a16:creationId xmlns:a16="http://schemas.microsoft.com/office/drawing/2014/main" id="{02116531-C1C7-4148-E6BC-822BDDBE6B16}"/>
                </a:ext>
              </a:extLst>
            </p:cNvPr>
            <p:cNvSpPr/>
            <p:nvPr/>
          </p:nvSpPr>
          <p:spPr>
            <a:xfrm>
              <a:off x="4465399" y="-2408497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12" name="Freeform: Shape 251">
              <a:extLst>
                <a:ext uri="{FF2B5EF4-FFF2-40B4-BE49-F238E27FC236}">
                  <a16:creationId xmlns:a16="http://schemas.microsoft.com/office/drawing/2014/main" id="{16D78C14-4F5E-2351-7D29-349E6D7E54DD}"/>
                </a:ext>
              </a:extLst>
            </p:cNvPr>
            <p:cNvSpPr/>
            <p:nvPr/>
          </p:nvSpPr>
          <p:spPr>
            <a:xfrm>
              <a:off x="4520263" y="-2443930"/>
              <a:ext cx="9525" cy="70866"/>
            </a:xfrm>
            <a:custGeom>
              <a:avLst/>
              <a:gdLst>
                <a:gd name="connsiteX0" fmla="*/ 0 w 9525"/>
                <a:gd name="connsiteY0" fmla="*/ 0 h 70866"/>
                <a:gd name="connsiteX1" fmla="*/ 0 w 9525"/>
                <a:gd name="connsiteY1" fmla="*/ 70866 h 7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6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13" name="Freeform: Shape 252">
              <a:extLst>
                <a:ext uri="{FF2B5EF4-FFF2-40B4-BE49-F238E27FC236}">
                  <a16:creationId xmlns:a16="http://schemas.microsoft.com/office/drawing/2014/main" id="{FF789B88-FFCA-AFF4-3D05-244BECFC3877}"/>
                </a:ext>
              </a:extLst>
            </p:cNvPr>
            <p:cNvSpPr/>
            <p:nvPr/>
          </p:nvSpPr>
          <p:spPr>
            <a:xfrm>
              <a:off x="4471114" y="-2408497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14" name="Freeform: Shape 253">
              <a:extLst>
                <a:ext uri="{FF2B5EF4-FFF2-40B4-BE49-F238E27FC236}">
                  <a16:creationId xmlns:a16="http://schemas.microsoft.com/office/drawing/2014/main" id="{ADCD2645-D209-3639-8233-634F4B4333FF}"/>
                </a:ext>
              </a:extLst>
            </p:cNvPr>
            <p:cNvSpPr/>
            <p:nvPr/>
          </p:nvSpPr>
          <p:spPr>
            <a:xfrm>
              <a:off x="4527121" y="-2443930"/>
              <a:ext cx="9525" cy="70866"/>
            </a:xfrm>
            <a:custGeom>
              <a:avLst/>
              <a:gdLst>
                <a:gd name="connsiteX0" fmla="*/ 0 w 9525"/>
                <a:gd name="connsiteY0" fmla="*/ 0 h 70866"/>
                <a:gd name="connsiteX1" fmla="*/ 0 w 9525"/>
                <a:gd name="connsiteY1" fmla="*/ 70866 h 7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6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15" name="Freeform: Shape 254">
              <a:extLst>
                <a:ext uri="{FF2B5EF4-FFF2-40B4-BE49-F238E27FC236}">
                  <a16:creationId xmlns:a16="http://schemas.microsoft.com/office/drawing/2014/main" id="{FC4D01E2-B2A0-3040-6FDD-96CB62A030DA}"/>
                </a:ext>
              </a:extLst>
            </p:cNvPr>
            <p:cNvSpPr/>
            <p:nvPr/>
          </p:nvSpPr>
          <p:spPr>
            <a:xfrm>
              <a:off x="4488259" y="-2408497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16" name="Freeform: Shape 255">
              <a:extLst>
                <a:ext uri="{FF2B5EF4-FFF2-40B4-BE49-F238E27FC236}">
                  <a16:creationId xmlns:a16="http://schemas.microsoft.com/office/drawing/2014/main" id="{61DBB8AA-12A4-0B5B-14F7-095D4BB58721}"/>
                </a:ext>
              </a:extLst>
            </p:cNvPr>
            <p:cNvSpPr/>
            <p:nvPr/>
          </p:nvSpPr>
          <p:spPr>
            <a:xfrm>
              <a:off x="4544266" y="-2443930"/>
              <a:ext cx="9525" cy="70866"/>
            </a:xfrm>
            <a:custGeom>
              <a:avLst/>
              <a:gdLst>
                <a:gd name="connsiteX0" fmla="*/ 0 w 9525"/>
                <a:gd name="connsiteY0" fmla="*/ 0 h 70866"/>
                <a:gd name="connsiteX1" fmla="*/ 0 w 9525"/>
                <a:gd name="connsiteY1" fmla="*/ 70866 h 7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6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17" name="Freeform: Shape 256">
              <a:extLst>
                <a:ext uri="{FF2B5EF4-FFF2-40B4-BE49-F238E27FC236}">
                  <a16:creationId xmlns:a16="http://schemas.microsoft.com/office/drawing/2014/main" id="{444560CB-56F1-DACC-B8AF-26044BB853A6}"/>
                </a:ext>
              </a:extLst>
            </p:cNvPr>
            <p:cNvSpPr/>
            <p:nvPr/>
          </p:nvSpPr>
          <p:spPr>
            <a:xfrm>
              <a:off x="4493974" y="-240849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18" name="Freeform: Shape 257">
              <a:extLst>
                <a:ext uri="{FF2B5EF4-FFF2-40B4-BE49-F238E27FC236}">
                  <a16:creationId xmlns:a16="http://schemas.microsoft.com/office/drawing/2014/main" id="{49B7407E-60F4-381E-0F11-128125CD36D7}"/>
                </a:ext>
              </a:extLst>
            </p:cNvPr>
            <p:cNvSpPr/>
            <p:nvPr/>
          </p:nvSpPr>
          <p:spPr>
            <a:xfrm>
              <a:off x="4549981" y="-2443930"/>
              <a:ext cx="9525" cy="70866"/>
            </a:xfrm>
            <a:custGeom>
              <a:avLst/>
              <a:gdLst>
                <a:gd name="connsiteX0" fmla="*/ 0 w 9525"/>
                <a:gd name="connsiteY0" fmla="*/ 0 h 70866"/>
                <a:gd name="connsiteX1" fmla="*/ 0 w 9525"/>
                <a:gd name="connsiteY1" fmla="*/ 70866 h 7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6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19" name="Freeform: Shape 258">
              <a:extLst>
                <a:ext uri="{FF2B5EF4-FFF2-40B4-BE49-F238E27FC236}">
                  <a16:creationId xmlns:a16="http://schemas.microsoft.com/office/drawing/2014/main" id="{23DE60C7-E747-4373-FA6C-04B3E0BD5E60}"/>
                </a:ext>
              </a:extLst>
            </p:cNvPr>
            <p:cNvSpPr/>
            <p:nvPr/>
          </p:nvSpPr>
          <p:spPr>
            <a:xfrm>
              <a:off x="4577413" y="-236849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20" name="Freeform: Shape 259">
              <a:extLst>
                <a:ext uri="{FF2B5EF4-FFF2-40B4-BE49-F238E27FC236}">
                  <a16:creationId xmlns:a16="http://schemas.microsoft.com/office/drawing/2014/main" id="{C3A5F000-0D37-DB6E-8117-760245E7D570}"/>
                </a:ext>
              </a:extLst>
            </p:cNvPr>
            <p:cNvSpPr/>
            <p:nvPr/>
          </p:nvSpPr>
          <p:spPr>
            <a:xfrm>
              <a:off x="4633420" y="-2402782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21" name="Freeform: Shape 260">
              <a:extLst>
                <a:ext uri="{FF2B5EF4-FFF2-40B4-BE49-F238E27FC236}">
                  <a16:creationId xmlns:a16="http://schemas.microsoft.com/office/drawing/2014/main" id="{69F4AEE1-8E42-57FF-81BE-0DC78ABD5E64}"/>
                </a:ext>
              </a:extLst>
            </p:cNvPr>
            <p:cNvSpPr/>
            <p:nvPr/>
          </p:nvSpPr>
          <p:spPr>
            <a:xfrm>
              <a:off x="4671139" y="-234334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22" name="Freeform: Shape 261">
              <a:extLst>
                <a:ext uri="{FF2B5EF4-FFF2-40B4-BE49-F238E27FC236}">
                  <a16:creationId xmlns:a16="http://schemas.microsoft.com/office/drawing/2014/main" id="{3D52D005-BF0F-DA91-D3F9-54E6FC4D1B42}"/>
                </a:ext>
              </a:extLst>
            </p:cNvPr>
            <p:cNvSpPr/>
            <p:nvPr/>
          </p:nvSpPr>
          <p:spPr>
            <a:xfrm>
              <a:off x="4727146" y="-2378779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23" name="Freeform: Shape 262">
              <a:extLst>
                <a:ext uri="{FF2B5EF4-FFF2-40B4-BE49-F238E27FC236}">
                  <a16:creationId xmlns:a16="http://schemas.microsoft.com/office/drawing/2014/main" id="{EEC39CE3-5494-2E8E-32BC-94BBE2EA0FE3}"/>
                </a:ext>
              </a:extLst>
            </p:cNvPr>
            <p:cNvSpPr/>
            <p:nvPr/>
          </p:nvSpPr>
          <p:spPr>
            <a:xfrm>
              <a:off x="4677997" y="-2343346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24" name="Freeform: Shape 263">
              <a:extLst>
                <a:ext uri="{FF2B5EF4-FFF2-40B4-BE49-F238E27FC236}">
                  <a16:creationId xmlns:a16="http://schemas.microsoft.com/office/drawing/2014/main" id="{58D0E450-41B5-6A74-A2E1-9F1880C5BCB3}"/>
                </a:ext>
              </a:extLst>
            </p:cNvPr>
            <p:cNvSpPr/>
            <p:nvPr/>
          </p:nvSpPr>
          <p:spPr>
            <a:xfrm>
              <a:off x="4734004" y="-2378779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25" name="Freeform: Shape 264">
              <a:extLst>
                <a:ext uri="{FF2B5EF4-FFF2-40B4-BE49-F238E27FC236}">
                  <a16:creationId xmlns:a16="http://schemas.microsoft.com/office/drawing/2014/main" id="{CA04B3CB-7566-AF9C-C80A-C339A4CE249A}"/>
                </a:ext>
              </a:extLst>
            </p:cNvPr>
            <p:cNvSpPr/>
            <p:nvPr/>
          </p:nvSpPr>
          <p:spPr>
            <a:xfrm>
              <a:off x="4706572" y="-233534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26" name="Freeform: Shape 265">
              <a:extLst>
                <a:ext uri="{FF2B5EF4-FFF2-40B4-BE49-F238E27FC236}">
                  <a16:creationId xmlns:a16="http://schemas.microsoft.com/office/drawing/2014/main" id="{18885920-4559-14F1-683E-4AD03F5996CA}"/>
                </a:ext>
              </a:extLst>
            </p:cNvPr>
            <p:cNvSpPr/>
            <p:nvPr/>
          </p:nvSpPr>
          <p:spPr>
            <a:xfrm>
              <a:off x="4762579" y="-2370778"/>
              <a:ext cx="9525" cy="70866"/>
            </a:xfrm>
            <a:custGeom>
              <a:avLst/>
              <a:gdLst>
                <a:gd name="connsiteX0" fmla="*/ 0 w 9525"/>
                <a:gd name="connsiteY0" fmla="*/ 0 h 70866"/>
                <a:gd name="connsiteX1" fmla="*/ 0 w 9525"/>
                <a:gd name="connsiteY1" fmla="*/ 70866 h 7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6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27" name="Freeform: Shape 266">
              <a:extLst>
                <a:ext uri="{FF2B5EF4-FFF2-40B4-BE49-F238E27FC236}">
                  <a16:creationId xmlns:a16="http://schemas.microsoft.com/office/drawing/2014/main" id="{B2C2196A-48A1-7DA6-CA02-394677C2034C}"/>
                </a:ext>
              </a:extLst>
            </p:cNvPr>
            <p:cNvSpPr/>
            <p:nvPr/>
          </p:nvSpPr>
          <p:spPr>
            <a:xfrm>
              <a:off x="4719145" y="-233534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28" name="Freeform: Shape 267">
              <a:extLst>
                <a:ext uri="{FF2B5EF4-FFF2-40B4-BE49-F238E27FC236}">
                  <a16:creationId xmlns:a16="http://schemas.microsoft.com/office/drawing/2014/main" id="{44C91E0E-634C-FEE7-9893-54E718278699}"/>
                </a:ext>
              </a:extLst>
            </p:cNvPr>
            <p:cNvSpPr/>
            <p:nvPr/>
          </p:nvSpPr>
          <p:spPr>
            <a:xfrm>
              <a:off x="4775152" y="-2370778"/>
              <a:ext cx="9525" cy="70866"/>
            </a:xfrm>
            <a:custGeom>
              <a:avLst/>
              <a:gdLst>
                <a:gd name="connsiteX0" fmla="*/ 0 w 9525"/>
                <a:gd name="connsiteY0" fmla="*/ 0 h 70866"/>
                <a:gd name="connsiteX1" fmla="*/ 0 w 9525"/>
                <a:gd name="connsiteY1" fmla="*/ 70866 h 7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6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29" name="Freeform: Shape 268">
              <a:extLst>
                <a:ext uri="{FF2B5EF4-FFF2-40B4-BE49-F238E27FC236}">
                  <a16:creationId xmlns:a16="http://schemas.microsoft.com/office/drawing/2014/main" id="{BB1BC213-7B6D-89F3-6381-8246C396C4BB}"/>
                </a:ext>
              </a:extLst>
            </p:cNvPr>
            <p:cNvSpPr/>
            <p:nvPr/>
          </p:nvSpPr>
          <p:spPr>
            <a:xfrm>
              <a:off x="4784296" y="-2335345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30" name="Freeform: Shape 269">
              <a:extLst>
                <a:ext uri="{FF2B5EF4-FFF2-40B4-BE49-F238E27FC236}">
                  <a16:creationId xmlns:a16="http://schemas.microsoft.com/office/drawing/2014/main" id="{5BBFFA9D-FD9E-F50B-EEA2-E3F5D7816126}"/>
                </a:ext>
              </a:extLst>
            </p:cNvPr>
            <p:cNvSpPr/>
            <p:nvPr/>
          </p:nvSpPr>
          <p:spPr>
            <a:xfrm>
              <a:off x="4839160" y="-2370778"/>
              <a:ext cx="9525" cy="70866"/>
            </a:xfrm>
            <a:custGeom>
              <a:avLst/>
              <a:gdLst>
                <a:gd name="connsiteX0" fmla="*/ 0 w 9525"/>
                <a:gd name="connsiteY0" fmla="*/ 0 h 70866"/>
                <a:gd name="connsiteX1" fmla="*/ 0 w 9525"/>
                <a:gd name="connsiteY1" fmla="*/ 70866 h 7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6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31" name="Freeform: Shape 270">
              <a:extLst>
                <a:ext uri="{FF2B5EF4-FFF2-40B4-BE49-F238E27FC236}">
                  <a16:creationId xmlns:a16="http://schemas.microsoft.com/office/drawing/2014/main" id="{78F3D668-ED8D-B2BA-138D-6C13C062836E}"/>
                </a:ext>
              </a:extLst>
            </p:cNvPr>
            <p:cNvSpPr/>
            <p:nvPr/>
          </p:nvSpPr>
          <p:spPr>
            <a:xfrm>
              <a:off x="4784296" y="-2335345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32" name="Freeform: Shape 271">
              <a:extLst>
                <a:ext uri="{FF2B5EF4-FFF2-40B4-BE49-F238E27FC236}">
                  <a16:creationId xmlns:a16="http://schemas.microsoft.com/office/drawing/2014/main" id="{5D5947D3-AAD8-0199-C0BD-8EE87454F030}"/>
                </a:ext>
              </a:extLst>
            </p:cNvPr>
            <p:cNvSpPr/>
            <p:nvPr/>
          </p:nvSpPr>
          <p:spPr>
            <a:xfrm>
              <a:off x="4839160" y="-2370778"/>
              <a:ext cx="9525" cy="70866"/>
            </a:xfrm>
            <a:custGeom>
              <a:avLst/>
              <a:gdLst>
                <a:gd name="connsiteX0" fmla="*/ 0 w 9525"/>
                <a:gd name="connsiteY0" fmla="*/ 0 h 70866"/>
                <a:gd name="connsiteX1" fmla="*/ 0 w 9525"/>
                <a:gd name="connsiteY1" fmla="*/ 70866 h 7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6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33" name="Freeform: Shape 272">
              <a:extLst>
                <a:ext uri="{FF2B5EF4-FFF2-40B4-BE49-F238E27FC236}">
                  <a16:creationId xmlns:a16="http://schemas.microsoft.com/office/drawing/2014/main" id="{EF701C5C-DDEF-C7E5-6C2B-D934EE7767C4}"/>
                </a:ext>
              </a:extLst>
            </p:cNvPr>
            <p:cNvSpPr/>
            <p:nvPr/>
          </p:nvSpPr>
          <p:spPr>
            <a:xfrm>
              <a:off x="4814014" y="-2327344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34" name="Freeform: Shape 273">
              <a:extLst>
                <a:ext uri="{FF2B5EF4-FFF2-40B4-BE49-F238E27FC236}">
                  <a16:creationId xmlns:a16="http://schemas.microsoft.com/office/drawing/2014/main" id="{6B68DAEA-1BDD-9F5E-A230-99A9F67FA262}"/>
                </a:ext>
              </a:extLst>
            </p:cNvPr>
            <p:cNvSpPr/>
            <p:nvPr/>
          </p:nvSpPr>
          <p:spPr>
            <a:xfrm>
              <a:off x="4868878" y="-2361634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35" name="Freeform: Shape 274">
              <a:extLst>
                <a:ext uri="{FF2B5EF4-FFF2-40B4-BE49-F238E27FC236}">
                  <a16:creationId xmlns:a16="http://schemas.microsoft.com/office/drawing/2014/main" id="{562874D0-A000-F5B1-01FA-8784CB352A5F}"/>
                </a:ext>
              </a:extLst>
            </p:cNvPr>
            <p:cNvSpPr/>
            <p:nvPr/>
          </p:nvSpPr>
          <p:spPr>
            <a:xfrm>
              <a:off x="4954603" y="-2285053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36" name="Freeform: Shape 275">
              <a:extLst>
                <a:ext uri="{FF2B5EF4-FFF2-40B4-BE49-F238E27FC236}">
                  <a16:creationId xmlns:a16="http://schemas.microsoft.com/office/drawing/2014/main" id="{5E772FF9-5DDF-DBC2-FBFC-BC1862AD577D}"/>
                </a:ext>
              </a:extLst>
            </p:cNvPr>
            <p:cNvSpPr/>
            <p:nvPr/>
          </p:nvSpPr>
          <p:spPr>
            <a:xfrm>
              <a:off x="5010610" y="-2319343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37" name="Freeform: Shape 276">
              <a:extLst>
                <a:ext uri="{FF2B5EF4-FFF2-40B4-BE49-F238E27FC236}">
                  <a16:creationId xmlns:a16="http://schemas.microsoft.com/office/drawing/2014/main" id="{9F873D32-3526-72FD-2E76-79B46AE68796}"/>
                </a:ext>
              </a:extLst>
            </p:cNvPr>
            <p:cNvSpPr/>
            <p:nvPr/>
          </p:nvSpPr>
          <p:spPr>
            <a:xfrm>
              <a:off x="4954603" y="-2285053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38" name="Freeform: Shape 277">
              <a:extLst>
                <a:ext uri="{FF2B5EF4-FFF2-40B4-BE49-F238E27FC236}">
                  <a16:creationId xmlns:a16="http://schemas.microsoft.com/office/drawing/2014/main" id="{2AECD631-7D56-D035-37EF-A3E7A97825B1}"/>
                </a:ext>
              </a:extLst>
            </p:cNvPr>
            <p:cNvSpPr/>
            <p:nvPr/>
          </p:nvSpPr>
          <p:spPr>
            <a:xfrm>
              <a:off x="5010610" y="-2319343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39" name="Freeform: Shape 278">
              <a:extLst>
                <a:ext uri="{FF2B5EF4-FFF2-40B4-BE49-F238E27FC236}">
                  <a16:creationId xmlns:a16="http://schemas.microsoft.com/office/drawing/2014/main" id="{3D6556E4-5D79-DA1A-C282-BC9186E6C455}"/>
                </a:ext>
              </a:extLst>
            </p:cNvPr>
            <p:cNvSpPr/>
            <p:nvPr/>
          </p:nvSpPr>
          <p:spPr>
            <a:xfrm>
              <a:off x="5084905" y="-227705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40" name="Freeform: Shape 279">
              <a:extLst>
                <a:ext uri="{FF2B5EF4-FFF2-40B4-BE49-F238E27FC236}">
                  <a16:creationId xmlns:a16="http://schemas.microsoft.com/office/drawing/2014/main" id="{3A7F1879-A915-8FB7-4A11-7B6EE6899CB7}"/>
                </a:ext>
              </a:extLst>
            </p:cNvPr>
            <p:cNvSpPr/>
            <p:nvPr/>
          </p:nvSpPr>
          <p:spPr>
            <a:xfrm>
              <a:off x="5140912" y="-231134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41" name="Freeform: Shape 280">
              <a:extLst>
                <a:ext uri="{FF2B5EF4-FFF2-40B4-BE49-F238E27FC236}">
                  <a16:creationId xmlns:a16="http://schemas.microsoft.com/office/drawing/2014/main" id="{8F600A4C-1BE2-77BD-3E05-00959981F631}"/>
                </a:ext>
              </a:extLst>
            </p:cNvPr>
            <p:cNvSpPr/>
            <p:nvPr/>
          </p:nvSpPr>
          <p:spPr>
            <a:xfrm>
              <a:off x="5297503" y="-2225617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42" name="Freeform: Shape 281">
              <a:extLst>
                <a:ext uri="{FF2B5EF4-FFF2-40B4-BE49-F238E27FC236}">
                  <a16:creationId xmlns:a16="http://schemas.microsoft.com/office/drawing/2014/main" id="{B204E35E-602B-8598-71CB-88FA17FDE032}"/>
                </a:ext>
              </a:extLst>
            </p:cNvPr>
            <p:cNvSpPr/>
            <p:nvPr/>
          </p:nvSpPr>
          <p:spPr>
            <a:xfrm>
              <a:off x="5353510" y="-225990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43" name="Freeform: Shape 282">
              <a:extLst>
                <a:ext uri="{FF2B5EF4-FFF2-40B4-BE49-F238E27FC236}">
                  <a16:creationId xmlns:a16="http://schemas.microsoft.com/office/drawing/2014/main" id="{4EBCD35F-F6D6-3C60-D8B2-51F557511406}"/>
                </a:ext>
              </a:extLst>
            </p:cNvPr>
            <p:cNvSpPr/>
            <p:nvPr/>
          </p:nvSpPr>
          <p:spPr>
            <a:xfrm>
              <a:off x="5321506" y="-2225617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44" name="Freeform: Shape 283">
              <a:extLst>
                <a:ext uri="{FF2B5EF4-FFF2-40B4-BE49-F238E27FC236}">
                  <a16:creationId xmlns:a16="http://schemas.microsoft.com/office/drawing/2014/main" id="{59FB60C0-4820-2DBD-8A26-B4FA4399F7EC}"/>
                </a:ext>
              </a:extLst>
            </p:cNvPr>
            <p:cNvSpPr/>
            <p:nvPr/>
          </p:nvSpPr>
          <p:spPr>
            <a:xfrm>
              <a:off x="5377513" y="-225990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45" name="Freeform: Shape 284">
              <a:extLst>
                <a:ext uri="{FF2B5EF4-FFF2-40B4-BE49-F238E27FC236}">
                  <a16:creationId xmlns:a16="http://schemas.microsoft.com/office/drawing/2014/main" id="{B94FF247-6F2C-C802-4AEF-EC18DFDB9A3F}"/>
                </a:ext>
              </a:extLst>
            </p:cNvPr>
            <p:cNvSpPr/>
            <p:nvPr/>
          </p:nvSpPr>
          <p:spPr>
            <a:xfrm>
              <a:off x="5338651" y="-2216473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46" name="Freeform: Shape 285">
              <a:extLst>
                <a:ext uri="{FF2B5EF4-FFF2-40B4-BE49-F238E27FC236}">
                  <a16:creationId xmlns:a16="http://schemas.microsoft.com/office/drawing/2014/main" id="{D2071B40-17A9-157A-83CD-66CC4F9BC097}"/>
                </a:ext>
              </a:extLst>
            </p:cNvPr>
            <p:cNvSpPr/>
            <p:nvPr/>
          </p:nvSpPr>
          <p:spPr>
            <a:xfrm>
              <a:off x="5394658" y="-2251906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47" name="Freeform: Shape 286">
              <a:extLst>
                <a:ext uri="{FF2B5EF4-FFF2-40B4-BE49-F238E27FC236}">
                  <a16:creationId xmlns:a16="http://schemas.microsoft.com/office/drawing/2014/main" id="{935B1A2E-0A49-A96A-E6BA-44EA1C92190E}"/>
                </a:ext>
              </a:extLst>
            </p:cNvPr>
            <p:cNvSpPr/>
            <p:nvPr/>
          </p:nvSpPr>
          <p:spPr>
            <a:xfrm>
              <a:off x="5344366" y="-2216473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48" name="Freeform: Shape 287">
              <a:extLst>
                <a:ext uri="{FF2B5EF4-FFF2-40B4-BE49-F238E27FC236}">
                  <a16:creationId xmlns:a16="http://schemas.microsoft.com/office/drawing/2014/main" id="{C8E93078-047F-51DC-095E-77BC89F746AB}"/>
                </a:ext>
              </a:extLst>
            </p:cNvPr>
            <p:cNvSpPr/>
            <p:nvPr/>
          </p:nvSpPr>
          <p:spPr>
            <a:xfrm>
              <a:off x="5400373" y="-2251906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49" name="Freeform: Shape 288">
              <a:extLst>
                <a:ext uri="{FF2B5EF4-FFF2-40B4-BE49-F238E27FC236}">
                  <a16:creationId xmlns:a16="http://schemas.microsoft.com/office/drawing/2014/main" id="{A6F52B7E-9592-6925-EFC5-EA84A716FBC5}"/>
                </a:ext>
              </a:extLst>
            </p:cNvPr>
            <p:cNvSpPr/>
            <p:nvPr/>
          </p:nvSpPr>
          <p:spPr>
            <a:xfrm>
              <a:off x="5344366" y="-2216473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50" name="Freeform: Shape 289">
              <a:extLst>
                <a:ext uri="{FF2B5EF4-FFF2-40B4-BE49-F238E27FC236}">
                  <a16:creationId xmlns:a16="http://schemas.microsoft.com/office/drawing/2014/main" id="{1E006A14-3AD0-6AC4-6FAB-0BEC6767E235}"/>
                </a:ext>
              </a:extLst>
            </p:cNvPr>
            <p:cNvSpPr/>
            <p:nvPr/>
          </p:nvSpPr>
          <p:spPr>
            <a:xfrm>
              <a:off x="5400373" y="-2251906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51" name="Freeform: Shape 290">
              <a:extLst>
                <a:ext uri="{FF2B5EF4-FFF2-40B4-BE49-F238E27FC236}">
                  <a16:creationId xmlns:a16="http://schemas.microsoft.com/office/drawing/2014/main" id="{C4892E8D-9FE6-DCFE-4B44-9AE24519F8EE}"/>
                </a:ext>
              </a:extLst>
            </p:cNvPr>
            <p:cNvSpPr/>
            <p:nvPr/>
          </p:nvSpPr>
          <p:spPr>
            <a:xfrm>
              <a:off x="5403802" y="-2216473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52" name="Freeform: Shape 291">
              <a:extLst>
                <a:ext uri="{FF2B5EF4-FFF2-40B4-BE49-F238E27FC236}">
                  <a16:creationId xmlns:a16="http://schemas.microsoft.com/office/drawing/2014/main" id="{0F27EEB5-5428-9CEC-D9BA-7F0101087296}"/>
                </a:ext>
              </a:extLst>
            </p:cNvPr>
            <p:cNvSpPr/>
            <p:nvPr/>
          </p:nvSpPr>
          <p:spPr>
            <a:xfrm>
              <a:off x="5459809" y="-2251906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53" name="Freeform: Shape 292">
              <a:extLst>
                <a:ext uri="{FF2B5EF4-FFF2-40B4-BE49-F238E27FC236}">
                  <a16:creationId xmlns:a16="http://schemas.microsoft.com/office/drawing/2014/main" id="{6E41C243-E2B0-57C9-DD6D-21A18327E1C8}"/>
                </a:ext>
              </a:extLst>
            </p:cNvPr>
            <p:cNvSpPr/>
            <p:nvPr/>
          </p:nvSpPr>
          <p:spPr>
            <a:xfrm>
              <a:off x="5444950" y="-220847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54" name="Freeform: Shape 293">
              <a:extLst>
                <a:ext uri="{FF2B5EF4-FFF2-40B4-BE49-F238E27FC236}">
                  <a16:creationId xmlns:a16="http://schemas.microsoft.com/office/drawing/2014/main" id="{DC00B49D-0CE1-5550-CBBE-01D970CCA81F}"/>
                </a:ext>
              </a:extLst>
            </p:cNvPr>
            <p:cNvSpPr/>
            <p:nvPr/>
          </p:nvSpPr>
          <p:spPr>
            <a:xfrm>
              <a:off x="5500957" y="-224276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55" name="Freeform: Shape 294">
              <a:extLst>
                <a:ext uri="{FF2B5EF4-FFF2-40B4-BE49-F238E27FC236}">
                  <a16:creationId xmlns:a16="http://schemas.microsoft.com/office/drawing/2014/main" id="{1C81F63D-F465-FA88-C514-9C5E4AA20595}"/>
                </a:ext>
              </a:extLst>
            </p:cNvPr>
            <p:cNvSpPr/>
            <p:nvPr/>
          </p:nvSpPr>
          <p:spPr>
            <a:xfrm>
              <a:off x="5444950" y="-220847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56" name="Freeform: Shape 295">
              <a:extLst>
                <a:ext uri="{FF2B5EF4-FFF2-40B4-BE49-F238E27FC236}">
                  <a16:creationId xmlns:a16="http://schemas.microsoft.com/office/drawing/2014/main" id="{756DE526-F7CC-E956-7E1D-AC3F9739DBA8}"/>
                </a:ext>
              </a:extLst>
            </p:cNvPr>
            <p:cNvSpPr/>
            <p:nvPr/>
          </p:nvSpPr>
          <p:spPr>
            <a:xfrm>
              <a:off x="5500957" y="-224276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57" name="Freeform: Shape 296">
              <a:extLst>
                <a:ext uri="{FF2B5EF4-FFF2-40B4-BE49-F238E27FC236}">
                  <a16:creationId xmlns:a16="http://schemas.microsoft.com/office/drawing/2014/main" id="{3941A28E-0679-1C92-DA02-9B433B01CD2D}"/>
                </a:ext>
              </a:extLst>
            </p:cNvPr>
            <p:cNvSpPr/>
            <p:nvPr/>
          </p:nvSpPr>
          <p:spPr>
            <a:xfrm>
              <a:off x="5463238" y="-2199328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58" name="Freeform: Shape 297">
              <a:extLst>
                <a:ext uri="{FF2B5EF4-FFF2-40B4-BE49-F238E27FC236}">
                  <a16:creationId xmlns:a16="http://schemas.microsoft.com/office/drawing/2014/main" id="{4DA3A585-FC04-B522-7F79-08CB5FB81C3F}"/>
                </a:ext>
              </a:extLst>
            </p:cNvPr>
            <p:cNvSpPr/>
            <p:nvPr/>
          </p:nvSpPr>
          <p:spPr>
            <a:xfrm>
              <a:off x="5519245" y="-2233618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59" name="Freeform: Shape 298">
              <a:extLst>
                <a:ext uri="{FF2B5EF4-FFF2-40B4-BE49-F238E27FC236}">
                  <a16:creationId xmlns:a16="http://schemas.microsoft.com/office/drawing/2014/main" id="{6C8D49FE-160B-3DC8-D6D3-7917EEC127D9}"/>
                </a:ext>
              </a:extLst>
            </p:cNvPr>
            <p:cNvSpPr/>
            <p:nvPr/>
          </p:nvSpPr>
          <p:spPr>
            <a:xfrm>
              <a:off x="5480383" y="-219932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60" name="Freeform: Shape 299">
              <a:extLst>
                <a:ext uri="{FF2B5EF4-FFF2-40B4-BE49-F238E27FC236}">
                  <a16:creationId xmlns:a16="http://schemas.microsoft.com/office/drawing/2014/main" id="{B6DB63CE-3EFF-4EFD-D849-0A12EA09DCAE}"/>
                </a:ext>
              </a:extLst>
            </p:cNvPr>
            <p:cNvSpPr/>
            <p:nvPr/>
          </p:nvSpPr>
          <p:spPr>
            <a:xfrm>
              <a:off x="5536390" y="-2233618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61" name="Freeform: Shape 300">
              <a:extLst>
                <a:ext uri="{FF2B5EF4-FFF2-40B4-BE49-F238E27FC236}">
                  <a16:creationId xmlns:a16="http://schemas.microsoft.com/office/drawing/2014/main" id="{DFBBE94C-3983-B7E3-9679-9A88CAB376A6}"/>
                </a:ext>
              </a:extLst>
            </p:cNvPr>
            <p:cNvSpPr/>
            <p:nvPr/>
          </p:nvSpPr>
          <p:spPr>
            <a:xfrm>
              <a:off x="5586682" y="-217189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62" name="Freeform: Shape 301">
              <a:extLst>
                <a:ext uri="{FF2B5EF4-FFF2-40B4-BE49-F238E27FC236}">
                  <a16:creationId xmlns:a16="http://schemas.microsoft.com/office/drawing/2014/main" id="{B932E178-B16F-5086-7F64-49230B3A8DCF}"/>
                </a:ext>
              </a:extLst>
            </p:cNvPr>
            <p:cNvSpPr/>
            <p:nvPr/>
          </p:nvSpPr>
          <p:spPr>
            <a:xfrm>
              <a:off x="5642689" y="-220732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63" name="Freeform: Shape 302">
              <a:extLst>
                <a:ext uri="{FF2B5EF4-FFF2-40B4-BE49-F238E27FC236}">
                  <a16:creationId xmlns:a16="http://schemas.microsoft.com/office/drawing/2014/main" id="{51EA08E9-BB35-1E41-3D4E-2C0C2ABCFE7D}"/>
                </a:ext>
              </a:extLst>
            </p:cNvPr>
            <p:cNvSpPr/>
            <p:nvPr/>
          </p:nvSpPr>
          <p:spPr>
            <a:xfrm>
              <a:off x="5670121" y="-2171896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64" name="Freeform: Shape 303">
              <a:extLst>
                <a:ext uri="{FF2B5EF4-FFF2-40B4-BE49-F238E27FC236}">
                  <a16:creationId xmlns:a16="http://schemas.microsoft.com/office/drawing/2014/main" id="{2218EAAC-4D81-CC76-BC5E-BF90EB89B96F}"/>
                </a:ext>
              </a:extLst>
            </p:cNvPr>
            <p:cNvSpPr/>
            <p:nvPr/>
          </p:nvSpPr>
          <p:spPr>
            <a:xfrm>
              <a:off x="5726128" y="-220732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65" name="Freeform: Shape 304">
              <a:extLst>
                <a:ext uri="{FF2B5EF4-FFF2-40B4-BE49-F238E27FC236}">
                  <a16:creationId xmlns:a16="http://schemas.microsoft.com/office/drawing/2014/main" id="{A857E7C4-771A-3A38-4E3D-49EDA880774D}"/>
                </a:ext>
              </a:extLst>
            </p:cNvPr>
            <p:cNvSpPr/>
            <p:nvPr/>
          </p:nvSpPr>
          <p:spPr>
            <a:xfrm>
              <a:off x="5687266" y="-217189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66" name="Freeform: Shape 305">
              <a:extLst>
                <a:ext uri="{FF2B5EF4-FFF2-40B4-BE49-F238E27FC236}">
                  <a16:creationId xmlns:a16="http://schemas.microsoft.com/office/drawing/2014/main" id="{3F0CFE61-8C25-C5C0-E20B-DE354A8D1590}"/>
                </a:ext>
              </a:extLst>
            </p:cNvPr>
            <p:cNvSpPr/>
            <p:nvPr/>
          </p:nvSpPr>
          <p:spPr>
            <a:xfrm>
              <a:off x="5743273" y="-220732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67" name="Freeform: Shape 306">
              <a:extLst>
                <a:ext uri="{FF2B5EF4-FFF2-40B4-BE49-F238E27FC236}">
                  <a16:creationId xmlns:a16="http://schemas.microsoft.com/office/drawing/2014/main" id="{17AE9B6D-4328-BA96-C7FD-B8AA39E466D7}"/>
                </a:ext>
              </a:extLst>
            </p:cNvPr>
            <p:cNvSpPr/>
            <p:nvPr/>
          </p:nvSpPr>
          <p:spPr>
            <a:xfrm>
              <a:off x="5698696" y="-216275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68" name="Freeform: Shape 307">
              <a:extLst>
                <a:ext uri="{FF2B5EF4-FFF2-40B4-BE49-F238E27FC236}">
                  <a16:creationId xmlns:a16="http://schemas.microsoft.com/office/drawing/2014/main" id="{08521754-ACBC-4260-5E58-ECD5BA856B62}"/>
                </a:ext>
              </a:extLst>
            </p:cNvPr>
            <p:cNvSpPr/>
            <p:nvPr/>
          </p:nvSpPr>
          <p:spPr>
            <a:xfrm>
              <a:off x="5754703" y="-2198185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69" name="Freeform: Shape 308">
              <a:extLst>
                <a:ext uri="{FF2B5EF4-FFF2-40B4-BE49-F238E27FC236}">
                  <a16:creationId xmlns:a16="http://schemas.microsoft.com/office/drawing/2014/main" id="{E281F4F5-44D6-956F-9EEB-920C3E19F767}"/>
                </a:ext>
              </a:extLst>
            </p:cNvPr>
            <p:cNvSpPr/>
            <p:nvPr/>
          </p:nvSpPr>
          <p:spPr>
            <a:xfrm>
              <a:off x="5935297" y="-211703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70" name="Freeform: Shape 309">
              <a:extLst>
                <a:ext uri="{FF2B5EF4-FFF2-40B4-BE49-F238E27FC236}">
                  <a16:creationId xmlns:a16="http://schemas.microsoft.com/office/drawing/2014/main" id="{1CB3BF97-E27D-FDD8-AE21-3F366525B2AC}"/>
                </a:ext>
              </a:extLst>
            </p:cNvPr>
            <p:cNvSpPr/>
            <p:nvPr/>
          </p:nvSpPr>
          <p:spPr>
            <a:xfrm>
              <a:off x="5991304" y="-2152465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71" name="Freeform: Shape 310">
              <a:extLst>
                <a:ext uri="{FF2B5EF4-FFF2-40B4-BE49-F238E27FC236}">
                  <a16:creationId xmlns:a16="http://schemas.microsoft.com/office/drawing/2014/main" id="{2606124C-243B-8908-E70E-2CFDE23689F5}"/>
                </a:ext>
              </a:extLst>
            </p:cNvPr>
            <p:cNvSpPr/>
            <p:nvPr/>
          </p:nvSpPr>
          <p:spPr>
            <a:xfrm>
              <a:off x="6017593" y="-209874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72" name="Freeform: Shape 311">
              <a:extLst>
                <a:ext uri="{FF2B5EF4-FFF2-40B4-BE49-F238E27FC236}">
                  <a16:creationId xmlns:a16="http://schemas.microsoft.com/office/drawing/2014/main" id="{A73C45B7-FA22-2651-C9F1-B0DC46643CFE}"/>
                </a:ext>
              </a:extLst>
            </p:cNvPr>
            <p:cNvSpPr/>
            <p:nvPr/>
          </p:nvSpPr>
          <p:spPr>
            <a:xfrm>
              <a:off x="6073600" y="-2133034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73" name="Freeform: Shape 312">
              <a:extLst>
                <a:ext uri="{FF2B5EF4-FFF2-40B4-BE49-F238E27FC236}">
                  <a16:creationId xmlns:a16="http://schemas.microsoft.com/office/drawing/2014/main" id="{D0182FF0-0B3A-117A-F6CA-070ECDE1E1A9}"/>
                </a:ext>
              </a:extLst>
            </p:cNvPr>
            <p:cNvSpPr/>
            <p:nvPr/>
          </p:nvSpPr>
          <p:spPr>
            <a:xfrm>
              <a:off x="6118177" y="-206102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74" name="Freeform: Shape 313">
              <a:extLst>
                <a:ext uri="{FF2B5EF4-FFF2-40B4-BE49-F238E27FC236}">
                  <a16:creationId xmlns:a16="http://schemas.microsoft.com/office/drawing/2014/main" id="{251A2B08-C393-4B1C-C0D6-9C5D6C0B4584}"/>
                </a:ext>
              </a:extLst>
            </p:cNvPr>
            <p:cNvSpPr/>
            <p:nvPr/>
          </p:nvSpPr>
          <p:spPr>
            <a:xfrm>
              <a:off x="6174184" y="-2096458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75" name="Freeform: Shape 314">
              <a:extLst>
                <a:ext uri="{FF2B5EF4-FFF2-40B4-BE49-F238E27FC236}">
                  <a16:creationId xmlns:a16="http://schemas.microsoft.com/office/drawing/2014/main" id="{0CA683BD-0A77-E57E-7B07-6DAA94D2D530}"/>
                </a:ext>
              </a:extLst>
            </p:cNvPr>
            <p:cNvSpPr/>
            <p:nvPr/>
          </p:nvSpPr>
          <p:spPr>
            <a:xfrm>
              <a:off x="6123892" y="-206102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76" name="Freeform: Shape 315">
              <a:extLst>
                <a:ext uri="{FF2B5EF4-FFF2-40B4-BE49-F238E27FC236}">
                  <a16:creationId xmlns:a16="http://schemas.microsoft.com/office/drawing/2014/main" id="{B9F6A1D2-B53E-2A1F-9183-B37F259100D3}"/>
                </a:ext>
              </a:extLst>
            </p:cNvPr>
            <p:cNvSpPr/>
            <p:nvPr/>
          </p:nvSpPr>
          <p:spPr>
            <a:xfrm>
              <a:off x="6179899" y="-2096458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77" name="Freeform: Shape 316">
              <a:extLst>
                <a:ext uri="{FF2B5EF4-FFF2-40B4-BE49-F238E27FC236}">
                  <a16:creationId xmlns:a16="http://schemas.microsoft.com/office/drawing/2014/main" id="{A0BC84F6-1B6B-5BCA-56A8-7A3C91E913BD}"/>
                </a:ext>
              </a:extLst>
            </p:cNvPr>
            <p:cNvSpPr/>
            <p:nvPr/>
          </p:nvSpPr>
          <p:spPr>
            <a:xfrm>
              <a:off x="6194758" y="-205188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78" name="Freeform: Shape 317">
              <a:extLst>
                <a:ext uri="{FF2B5EF4-FFF2-40B4-BE49-F238E27FC236}">
                  <a16:creationId xmlns:a16="http://schemas.microsoft.com/office/drawing/2014/main" id="{94706F18-9598-245A-B14C-E8C3413DFA23}"/>
                </a:ext>
              </a:extLst>
            </p:cNvPr>
            <p:cNvSpPr/>
            <p:nvPr/>
          </p:nvSpPr>
          <p:spPr>
            <a:xfrm>
              <a:off x="6250765" y="-2087314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79" name="Freeform: Shape 318">
              <a:extLst>
                <a:ext uri="{FF2B5EF4-FFF2-40B4-BE49-F238E27FC236}">
                  <a16:creationId xmlns:a16="http://schemas.microsoft.com/office/drawing/2014/main" id="{A037DA24-4DF2-2D21-BF32-C41CD79575CE}"/>
                </a:ext>
              </a:extLst>
            </p:cNvPr>
            <p:cNvSpPr/>
            <p:nvPr/>
          </p:nvSpPr>
          <p:spPr>
            <a:xfrm>
              <a:off x="6230191" y="-205188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80" name="Freeform: Shape 319">
              <a:extLst>
                <a:ext uri="{FF2B5EF4-FFF2-40B4-BE49-F238E27FC236}">
                  <a16:creationId xmlns:a16="http://schemas.microsoft.com/office/drawing/2014/main" id="{FB86323E-2FF8-773F-80C1-8220A6539E48}"/>
                </a:ext>
              </a:extLst>
            </p:cNvPr>
            <p:cNvSpPr/>
            <p:nvPr/>
          </p:nvSpPr>
          <p:spPr>
            <a:xfrm>
              <a:off x="6286198" y="-2087314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81" name="Freeform: Shape 320">
              <a:extLst>
                <a:ext uri="{FF2B5EF4-FFF2-40B4-BE49-F238E27FC236}">
                  <a16:creationId xmlns:a16="http://schemas.microsoft.com/office/drawing/2014/main" id="{D7D02E7A-61E4-490F-64C9-9087B3E7DAD9}"/>
                </a:ext>
              </a:extLst>
            </p:cNvPr>
            <p:cNvSpPr/>
            <p:nvPr/>
          </p:nvSpPr>
          <p:spPr>
            <a:xfrm>
              <a:off x="6289627" y="-205188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82" name="Freeform: Shape 321">
              <a:extLst>
                <a:ext uri="{FF2B5EF4-FFF2-40B4-BE49-F238E27FC236}">
                  <a16:creationId xmlns:a16="http://schemas.microsoft.com/office/drawing/2014/main" id="{5161F901-ABF5-5248-6FD4-23E018C47B5A}"/>
                </a:ext>
              </a:extLst>
            </p:cNvPr>
            <p:cNvSpPr/>
            <p:nvPr/>
          </p:nvSpPr>
          <p:spPr>
            <a:xfrm>
              <a:off x="6345634" y="-2087314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83" name="Freeform: Shape 322">
              <a:extLst>
                <a:ext uri="{FF2B5EF4-FFF2-40B4-BE49-F238E27FC236}">
                  <a16:creationId xmlns:a16="http://schemas.microsoft.com/office/drawing/2014/main" id="{1DC4D687-ACFD-A1A3-29E0-565428990949}"/>
                </a:ext>
              </a:extLst>
            </p:cNvPr>
            <p:cNvSpPr/>
            <p:nvPr/>
          </p:nvSpPr>
          <p:spPr>
            <a:xfrm>
              <a:off x="6349063" y="-2051881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84" name="Freeform: Shape 323">
              <a:extLst>
                <a:ext uri="{FF2B5EF4-FFF2-40B4-BE49-F238E27FC236}">
                  <a16:creationId xmlns:a16="http://schemas.microsoft.com/office/drawing/2014/main" id="{5B70D3E8-58B4-44EE-71D2-53AAEA6EF0BD}"/>
                </a:ext>
              </a:extLst>
            </p:cNvPr>
            <p:cNvSpPr/>
            <p:nvPr/>
          </p:nvSpPr>
          <p:spPr>
            <a:xfrm>
              <a:off x="6405070" y="-2087314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85" name="Freeform: Shape 324">
              <a:extLst>
                <a:ext uri="{FF2B5EF4-FFF2-40B4-BE49-F238E27FC236}">
                  <a16:creationId xmlns:a16="http://schemas.microsoft.com/office/drawing/2014/main" id="{78C3184A-22C9-936D-E188-C321221835F4}"/>
                </a:ext>
              </a:extLst>
            </p:cNvPr>
            <p:cNvSpPr/>
            <p:nvPr/>
          </p:nvSpPr>
          <p:spPr>
            <a:xfrm>
              <a:off x="6543373" y="-2032450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86" name="Freeform: Shape 325">
              <a:extLst>
                <a:ext uri="{FF2B5EF4-FFF2-40B4-BE49-F238E27FC236}">
                  <a16:creationId xmlns:a16="http://schemas.microsoft.com/office/drawing/2014/main" id="{A4909BA2-BD67-5B07-23CE-13839E0928AA}"/>
                </a:ext>
              </a:extLst>
            </p:cNvPr>
            <p:cNvSpPr/>
            <p:nvPr/>
          </p:nvSpPr>
          <p:spPr>
            <a:xfrm>
              <a:off x="6599380" y="-2067883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87" name="Freeform: Shape 326">
              <a:extLst>
                <a:ext uri="{FF2B5EF4-FFF2-40B4-BE49-F238E27FC236}">
                  <a16:creationId xmlns:a16="http://schemas.microsoft.com/office/drawing/2014/main" id="{4A0C095C-55EA-9B54-F748-F9944D699D00}"/>
                </a:ext>
              </a:extLst>
            </p:cNvPr>
            <p:cNvSpPr/>
            <p:nvPr/>
          </p:nvSpPr>
          <p:spPr>
            <a:xfrm>
              <a:off x="6591379" y="-2013019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88" name="Freeform: Shape 327">
              <a:extLst>
                <a:ext uri="{FF2B5EF4-FFF2-40B4-BE49-F238E27FC236}">
                  <a16:creationId xmlns:a16="http://schemas.microsoft.com/office/drawing/2014/main" id="{889F4674-FF8C-ED0C-791F-93B1221CE901}"/>
                </a:ext>
              </a:extLst>
            </p:cNvPr>
            <p:cNvSpPr/>
            <p:nvPr/>
          </p:nvSpPr>
          <p:spPr>
            <a:xfrm>
              <a:off x="6646243" y="-204845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89" name="Freeform: Shape 328">
              <a:extLst>
                <a:ext uri="{FF2B5EF4-FFF2-40B4-BE49-F238E27FC236}">
                  <a16:creationId xmlns:a16="http://schemas.microsoft.com/office/drawing/2014/main" id="{E2631623-BD3A-3546-9047-116E7EFCFA9D}"/>
                </a:ext>
              </a:extLst>
            </p:cNvPr>
            <p:cNvSpPr/>
            <p:nvPr/>
          </p:nvSpPr>
          <p:spPr>
            <a:xfrm>
              <a:off x="6690820" y="-1993588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90" name="Freeform: Shape 329">
              <a:extLst>
                <a:ext uri="{FF2B5EF4-FFF2-40B4-BE49-F238E27FC236}">
                  <a16:creationId xmlns:a16="http://schemas.microsoft.com/office/drawing/2014/main" id="{615B5EBA-30DA-5E3C-7063-5F701BE889D3}"/>
                </a:ext>
              </a:extLst>
            </p:cNvPr>
            <p:cNvSpPr/>
            <p:nvPr/>
          </p:nvSpPr>
          <p:spPr>
            <a:xfrm>
              <a:off x="6746827" y="-202902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91" name="Freeform: Shape 330">
              <a:extLst>
                <a:ext uri="{FF2B5EF4-FFF2-40B4-BE49-F238E27FC236}">
                  <a16:creationId xmlns:a16="http://schemas.microsoft.com/office/drawing/2014/main" id="{1646D748-30E6-D946-0ECA-4FB9D7C79B2A}"/>
                </a:ext>
              </a:extLst>
            </p:cNvPr>
            <p:cNvSpPr/>
            <p:nvPr/>
          </p:nvSpPr>
          <p:spPr>
            <a:xfrm>
              <a:off x="6850840" y="-198444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92" name="Freeform: Shape 331">
              <a:extLst>
                <a:ext uri="{FF2B5EF4-FFF2-40B4-BE49-F238E27FC236}">
                  <a16:creationId xmlns:a16="http://schemas.microsoft.com/office/drawing/2014/main" id="{DF0AB689-CEF2-764C-28C8-CC9DB926E18F}"/>
                </a:ext>
              </a:extLst>
            </p:cNvPr>
            <p:cNvSpPr/>
            <p:nvPr/>
          </p:nvSpPr>
          <p:spPr>
            <a:xfrm>
              <a:off x="6906847" y="-2018734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93" name="Freeform: Shape 332">
              <a:extLst>
                <a:ext uri="{FF2B5EF4-FFF2-40B4-BE49-F238E27FC236}">
                  <a16:creationId xmlns:a16="http://schemas.microsoft.com/office/drawing/2014/main" id="{39B62E24-830C-A1A3-5DFD-9D88BEDA5309}"/>
                </a:ext>
              </a:extLst>
            </p:cNvPr>
            <p:cNvSpPr/>
            <p:nvPr/>
          </p:nvSpPr>
          <p:spPr>
            <a:xfrm>
              <a:off x="7028005" y="-192500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94" name="Freeform: Shape 333">
              <a:extLst>
                <a:ext uri="{FF2B5EF4-FFF2-40B4-BE49-F238E27FC236}">
                  <a16:creationId xmlns:a16="http://schemas.microsoft.com/office/drawing/2014/main" id="{320E2608-52CD-68FB-BAFF-37275256EF60}"/>
                </a:ext>
              </a:extLst>
            </p:cNvPr>
            <p:cNvSpPr/>
            <p:nvPr/>
          </p:nvSpPr>
          <p:spPr>
            <a:xfrm>
              <a:off x="7084012" y="-1959298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95" name="Freeform: Shape 334">
              <a:extLst>
                <a:ext uri="{FF2B5EF4-FFF2-40B4-BE49-F238E27FC236}">
                  <a16:creationId xmlns:a16="http://schemas.microsoft.com/office/drawing/2014/main" id="{F4601B47-2505-0BC9-4CC4-8B0E84439C04}"/>
                </a:ext>
              </a:extLst>
            </p:cNvPr>
            <p:cNvSpPr/>
            <p:nvPr/>
          </p:nvSpPr>
          <p:spPr>
            <a:xfrm>
              <a:off x="7181167" y="-1914721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96" name="Freeform: Shape 335">
              <a:extLst>
                <a:ext uri="{FF2B5EF4-FFF2-40B4-BE49-F238E27FC236}">
                  <a16:creationId xmlns:a16="http://schemas.microsoft.com/office/drawing/2014/main" id="{72CDB27E-2FAD-5AE5-00FE-65F46EEF964B}"/>
                </a:ext>
              </a:extLst>
            </p:cNvPr>
            <p:cNvSpPr/>
            <p:nvPr/>
          </p:nvSpPr>
          <p:spPr>
            <a:xfrm>
              <a:off x="7237174" y="-194901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97" name="Freeform: Shape 336">
              <a:extLst>
                <a:ext uri="{FF2B5EF4-FFF2-40B4-BE49-F238E27FC236}">
                  <a16:creationId xmlns:a16="http://schemas.microsoft.com/office/drawing/2014/main" id="{F6142BBA-6E06-B8A4-2929-6E4C83497321}"/>
                </a:ext>
              </a:extLst>
            </p:cNvPr>
            <p:cNvSpPr/>
            <p:nvPr/>
          </p:nvSpPr>
          <p:spPr>
            <a:xfrm>
              <a:off x="7222315" y="-191472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98" name="Freeform: Shape 337">
              <a:extLst>
                <a:ext uri="{FF2B5EF4-FFF2-40B4-BE49-F238E27FC236}">
                  <a16:creationId xmlns:a16="http://schemas.microsoft.com/office/drawing/2014/main" id="{4AE92F90-B0ED-C050-54A1-213EC880BC55}"/>
                </a:ext>
              </a:extLst>
            </p:cNvPr>
            <p:cNvSpPr/>
            <p:nvPr/>
          </p:nvSpPr>
          <p:spPr>
            <a:xfrm>
              <a:off x="7278322" y="-194901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299" name="Freeform: Shape 338">
              <a:extLst>
                <a:ext uri="{FF2B5EF4-FFF2-40B4-BE49-F238E27FC236}">
                  <a16:creationId xmlns:a16="http://schemas.microsoft.com/office/drawing/2014/main" id="{61AD5840-7F3A-5244-0D51-26DC3AA20DEC}"/>
                </a:ext>
              </a:extLst>
            </p:cNvPr>
            <p:cNvSpPr/>
            <p:nvPr/>
          </p:nvSpPr>
          <p:spPr>
            <a:xfrm>
              <a:off x="7270321" y="-1914721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00" name="Freeform: Shape 339">
              <a:extLst>
                <a:ext uri="{FF2B5EF4-FFF2-40B4-BE49-F238E27FC236}">
                  <a16:creationId xmlns:a16="http://schemas.microsoft.com/office/drawing/2014/main" id="{B02EFD96-64DC-95F8-7ABB-58439CE05AB2}"/>
                </a:ext>
              </a:extLst>
            </p:cNvPr>
            <p:cNvSpPr/>
            <p:nvPr/>
          </p:nvSpPr>
          <p:spPr>
            <a:xfrm>
              <a:off x="7326328" y="-194901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01" name="Freeform: Shape 340">
              <a:extLst>
                <a:ext uri="{FF2B5EF4-FFF2-40B4-BE49-F238E27FC236}">
                  <a16:creationId xmlns:a16="http://schemas.microsoft.com/office/drawing/2014/main" id="{8974D68D-F9D8-A0B1-09DD-52E0BC83FE81}"/>
                </a:ext>
              </a:extLst>
            </p:cNvPr>
            <p:cNvSpPr/>
            <p:nvPr/>
          </p:nvSpPr>
          <p:spPr>
            <a:xfrm>
              <a:off x="7305754" y="-1904434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02" name="Freeform: Shape 341">
              <a:extLst>
                <a:ext uri="{FF2B5EF4-FFF2-40B4-BE49-F238E27FC236}">
                  <a16:creationId xmlns:a16="http://schemas.microsoft.com/office/drawing/2014/main" id="{56E4BE0D-F1ED-DD57-5855-A7E1B11128FB}"/>
                </a:ext>
              </a:extLst>
            </p:cNvPr>
            <p:cNvSpPr/>
            <p:nvPr/>
          </p:nvSpPr>
          <p:spPr>
            <a:xfrm>
              <a:off x="7361761" y="-1939867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03" name="Freeform: Shape 342">
              <a:extLst>
                <a:ext uri="{FF2B5EF4-FFF2-40B4-BE49-F238E27FC236}">
                  <a16:creationId xmlns:a16="http://schemas.microsoft.com/office/drawing/2014/main" id="{8BA92CA9-B13F-C712-92D1-0F275DA35B1E}"/>
                </a:ext>
              </a:extLst>
            </p:cNvPr>
            <p:cNvSpPr/>
            <p:nvPr/>
          </p:nvSpPr>
          <p:spPr>
            <a:xfrm>
              <a:off x="7772098" y="-184271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04" name="Freeform: Shape 343">
              <a:extLst>
                <a:ext uri="{FF2B5EF4-FFF2-40B4-BE49-F238E27FC236}">
                  <a16:creationId xmlns:a16="http://schemas.microsoft.com/office/drawing/2014/main" id="{F2DBE3F6-B2AB-514A-2879-E6AC1DA22B79}"/>
                </a:ext>
              </a:extLst>
            </p:cNvPr>
            <p:cNvSpPr/>
            <p:nvPr/>
          </p:nvSpPr>
          <p:spPr>
            <a:xfrm>
              <a:off x="7828105" y="-1878145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05" name="Freeform: Shape 344">
              <a:extLst>
                <a:ext uri="{FF2B5EF4-FFF2-40B4-BE49-F238E27FC236}">
                  <a16:creationId xmlns:a16="http://schemas.microsoft.com/office/drawing/2014/main" id="{4005C4F3-8A47-C91B-CB61-6BC5ED90C01D}"/>
                </a:ext>
              </a:extLst>
            </p:cNvPr>
            <p:cNvSpPr/>
            <p:nvPr/>
          </p:nvSpPr>
          <p:spPr>
            <a:xfrm>
              <a:off x="7818961" y="-184271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06" name="Freeform: Shape 345">
              <a:extLst>
                <a:ext uri="{FF2B5EF4-FFF2-40B4-BE49-F238E27FC236}">
                  <a16:creationId xmlns:a16="http://schemas.microsoft.com/office/drawing/2014/main" id="{0EB08542-A4E6-2DA4-BEB3-63BB8C9E85B3}"/>
                </a:ext>
              </a:extLst>
            </p:cNvPr>
            <p:cNvSpPr/>
            <p:nvPr/>
          </p:nvSpPr>
          <p:spPr>
            <a:xfrm>
              <a:off x="7874968" y="-1878145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07" name="Freeform: Shape 346">
              <a:extLst>
                <a:ext uri="{FF2B5EF4-FFF2-40B4-BE49-F238E27FC236}">
                  <a16:creationId xmlns:a16="http://schemas.microsoft.com/office/drawing/2014/main" id="{7139ABD9-1E25-E3B6-83C6-EE53150EB3DE}"/>
                </a:ext>
              </a:extLst>
            </p:cNvPr>
            <p:cNvSpPr/>
            <p:nvPr/>
          </p:nvSpPr>
          <p:spPr>
            <a:xfrm>
              <a:off x="7936690" y="-184271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08" name="Freeform: Shape 347">
              <a:extLst>
                <a:ext uri="{FF2B5EF4-FFF2-40B4-BE49-F238E27FC236}">
                  <a16:creationId xmlns:a16="http://schemas.microsoft.com/office/drawing/2014/main" id="{57782DE7-6800-24B0-0076-21D977CCC4AD}"/>
                </a:ext>
              </a:extLst>
            </p:cNvPr>
            <p:cNvSpPr/>
            <p:nvPr/>
          </p:nvSpPr>
          <p:spPr>
            <a:xfrm>
              <a:off x="7992697" y="-1878145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09" name="Freeform: Shape 348">
              <a:extLst>
                <a:ext uri="{FF2B5EF4-FFF2-40B4-BE49-F238E27FC236}">
                  <a16:creationId xmlns:a16="http://schemas.microsoft.com/office/drawing/2014/main" id="{E0BBF390-C2AF-71BA-96CC-E74C214CD434}"/>
                </a:ext>
              </a:extLst>
            </p:cNvPr>
            <p:cNvSpPr/>
            <p:nvPr/>
          </p:nvSpPr>
          <p:spPr>
            <a:xfrm>
              <a:off x="8173291" y="-181070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10" name="Freeform: Shape 349">
              <a:extLst>
                <a:ext uri="{FF2B5EF4-FFF2-40B4-BE49-F238E27FC236}">
                  <a16:creationId xmlns:a16="http://schemas.microsoft.com/office/drawing/2014/main" id="{4253664D-232C-CE66-180A-9432F68D1DE9}"/>
                </a:ext>
              </a:extLst>
            </p:cNvPr>
            <p:cNvSpPr/>
            <p:nvPr/>
          </p:nvSpPr>
          <p:spPr>
            <a:xfrm>
              <a:off x="8229298" y="-1846141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11" name="Freeform: Shape 350">
              <a:extLst>
                <a:ext uri="{FF2B5EF4-FFF2-40B4-BE49-F238E27FC236}">
                  <a16:creationId xmlns:a16="http://schemas.microsoft.com/office/drawing/2014/main" id="{F85082DA-3C45-DA41-0952-069656913824}"/>
                </a:ext>
              </a:extLst>
            </p:cNvPr>
            <p:cNvSpPr/>
            <p:nvPr/>
          </p:nvSpPr>
          <p:spPr>
            <a:xfrm>
              <a:off x="8279590" y="-181070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12" name="Freeform: Shape 351">
              <a:extLst>
                <a:ext uri="{FF2B5EF4-FFF2-40B4-BE49-F238E27FC236}">
                  <a16:creationId xmlns:a16="http://schemas.microsoft.com/office/drawing/2014/main" id="{C8076A42-A3BA-E5EA-B13B-CDE8DAE89A3B}"/>
                </a:ext>
              </a:extLst>
            </p:cNvPr>
            <p:cNvSpPr/>
            <p:nvPr/>
          </p:nvSpPr>
          <p:spPr>
            <a:xfrm>
              <a:off x="8335597" y="-1846141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13" name="Freeform: Shape 352">
              <a:extLst>
                <a:ext uri="{FF2B5EF4-FFF2-40B4-BE49-F238E27FC236}">
                  <a16:creationId xmlns:a16="http://schemas.microsoft.com/office/drawing/2014/main" id="{B2CE0900-3472-4BE0-D51A-69927C8839AD}"/>
                </a:ext>
              </a:extLst>
            </p:cNvPr>
            <p:cNvSpPr/>
            <p:nvPr/>
          </p:nvSpPr>
          <p:spPr>
            <a:xfrm>
              <a:off x="8805370" y="-172612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14" name="Freeform: Shape 353">
              <a:extLst>
                <a:ext uri="{FF2B5EF4-FFF2-40B4-BE49-F238E27FC236}">
                  <a16:creationId xmlns:a16="http://schemas.microsoft.com/office/drawing/2014/main" id="{2F8D6AFF-9A2C-5E93-C392-43D4C708E894}"/>
                </a:ext>
              </a:extLst>
            </p:cNvPr>
            <p:cNvSpPr/>
            <p:nvPr/>
          </p:nvSpPr>
          <p:spPr>
            <a:xfrm>
              <a:off x="8861377" y="-1760416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15" name="Freeform: Shape 354">
              <a:extLst>
                <a:ext uri="{FF2B5EF4-FFF2-40B4-BE49-F238E27FC236}">
                  <a16:creationId xmlns:a16="http://schemas.microsoft.com/office/drawing/2014/main" id="{ED1BFAD1-0653-47C2-B9AD-CE807CCF35E2}"/>
                </a:ext>
              </a:extLst>
            </p:cNvPr>
            <p:cNvSpPr/>
            <p:nvPr/>
          </p:nvSpPr>
          <p:spPr>
            <a:xfrm>
              <a:off x="8852233" y="-1714696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16" name="Freeform: Shape 355">
              <a:extLst>
                <a:ext uri="{FF2B5EF4-FFF2-40B4-BE49-F238E27FC236}">
                  <a16:creationId xmlns:a16="http://schemas.microsoft.com/office/drawing/2014/main" id="{D8199AE9-2AC1-BFB8-1654-738B8551C252}"/>
                </a:ext>
              </a:extLst>
            </p:cNvPr>
            <p:cNvSpPr/>
            <p:nvPr/>
          </p:nvSpPr>
          <p:spPr>
            <a:xfrm>
              <a:off x="8908240" y="-1750129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17" name="Freeform: Shape 356">
              <a:extLst>
                <a:ext uri="{FF2B5EF4-FFF2-40B4-BE49-F238E27FC236}">
                  <a16:creationId xmlns:a16="http://schemas.microsoft.com/office/drawing/2014/main" id="{BB0A2D53-DF57-A651-251D-D97EE50E7EAA}"/>
                </a:ext>
              </a:extLst>
            </p:cNvPr>
            <p:cNvSpPr/>
            <p:nvPr/>
          </p:nvSpPr>
          <p:spPr>
            <a:xfrm>
              <a:off x="8923099" y="-1714696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18" name="Freeform: Shape 357">
              <a:extLst>
                <a:ext uri="{FF2B5EF4-FFF2-40B4-BE49-F238E27FC236}">
                  <a16:creationId xmlns:a16="http://schemas.microsoft.com/office/drawing/2014/main" id="{7695328F-4273-B853-3CD0-2ED7DCF207AA}"/>
                </a:ext>
              </a:extLst>
            </p:cNvPr>
            <p:cNvSpPr/>
            <p:nvPr/>
          </p:nvSpPr>
          <p:spPr>
            <a:xfrm>
              <a:off x="8979106" y="-1750129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19" name="Freeform: Shape 358">
              <a:extLst>
                <a:ext uri="{FF2B5EF4-FFF2-40B4-BE49-F238E27FC236}">
                  <a16:creationId xmlns:a16="http://schemas.microsoft.com/office/drawing/2014/main" id="{C8EF190D-9F9E-22C0-DABF-557EE8163D39}"/>
                </a:ext>
              </a:extLst>
            </p:cNvPr>
            <p:cNvSpPr/>
            <p:nvPr/>
          </p:nvSpPr>
          <p:spPr>
            <a:xfrm>
              <a:off x="8964247" y="-171469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20" name="Freeform: Shape 359">
              <a:extLst>
                <a:ext uri="{FF2B5EF4-FFF2-40B4-BE49-F238E27FC236}">
                  <a16:creationId xmlns:a16="http://schemas.microsoft.com/office/drawing/2014/main" id="{0F781C8D-90EC-F94D-859C-C5A9DAF58FBB}"/>
                </a:ext>
              </a:extLst>
            </p:cNvPr>
            <p:cNvSpPr/>
            <p:nvPr/>
          </p:nvSpPr>
          <p:spPr>
            <a:xfrm>
              <a:off x="9020254" y="-1750129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21" name="Freeform: Shape 360">
              <a:extLst>
                <a:ext uri="{FF2B5EF4-FFF2-40B4-BE49-F238E27FC236}">
                  <a16:creationId xmlns:a16="http://schemas.microsoft.com/office/drawing/2014/main" id="{BF80027B-1A47-4817-BFF5-6A60BC6C70CF}"/>
                </a:ext>
              </a:extLst>
            </p:cNvPr>
            <p:cNvSpPr/>
            <p:nvPr/>
          </p:nvSpPr>
          <p:spPr>
            <a:xfrm>
              <a:off x="8976820" y="-171469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22" name="Freeform: Shape 361">
              <a:extLst>
                <a:ext uri="{FF2B5EF4-FFF2-40B4-BE49-F238E27FC236}">
                  <a16:creationId xmlns:a16="http://schemas.microsoft.com/office/drawing/2014/main" id="{5AD42296-BF2D-F861-89A5-852CC3250758}"/>
                </a:ext>
              </a:extLst>
            </p:cNvPr>
            <p:cNvSpPr/>
            <p:nvPr/>
          </p:nvSpPr>
          <p:spPr>
            <a:xfrm>
              <a:off x="9032827" y="-1750129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23" name="Freeform: Shape 362">
              <a:extLst>
                <a:ext uri="{FF2B5EF4-FFF2-40B4-BE49-F238E27FC236}">
                  <a16:creationId xmlns:a16="http://schemas.microsoft.com/office/drawing/2014/main" id="{47E1F8CB-E00A-751D-2B65-2A06DE80C530}"/>
                </a:ext>
              </a:extLst>
            </p:cNvPr>
            <p:cNvSpPr/>
            <p:nvPr/>
          </p:nvSpPr>
          <p:spPr>
            <a:xfrm>
              <a:off x="9041971" y="-1714696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24" name="Freeform: Shape 363">
              <a:extLst>
                <a:ext uri="{FF2B5EF4-FFF2-40B4-BE49-F238E27FC236}">
                  <a16:creationId xmlns:a16="http://schemas.microsoft.com/office/drawing/2014/main" id="{15F8DB27-416A-EF79-7870-BACC3D044E5A}"/>
                </a:ext>
              </a:extLst>
            </p:cNvPr>
            <p:cNvSpPr/>
            <p:nvPr/>
          </p:nvSpPr>
          <p:spPr>
            <a:xfrm>
              <a:off x="9097978" y="-1750129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25" name="Freeform: Shape 364">
              <a:extLst>
                <a:ext uri="{FF2B5EF4-FFF2-40B4-BE49-F238E27FC236}">
                  <a16:creationId xmlns:a16="http://schemas.microsoft.com/office/drawing/2014/main" id="{F6C02327-93A6-AAAB-DD34-2D576A986315}"/>
                </a:ext>
              </a:extLst>
            </p:cNvPr>
            <p:cNvSpPr/>
            <p:nvPr/>
          </p:nvSpPr>
          <p:spPr>
            <a:xfrm>
              <a:off x="9047686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26" name="Freeform: Shape 365">
              <a:extLst>
                <a:ext uri="{FF2B5EF4-FFF2-40B4-BE49-F238E27FC236}">
                  <a16:creationId xmlns:a16="http://schemas.microsoft.com/office/drawing/2014/main" id="{ED06A66A-7AF8-BA41-0ABA-A43992299AE9}"/>
                </a:ext>
              </a:extLst>
            </p:cNvPr>
            <p:cNvSpPr/>
            <p:nvPr/>
          </p:nvSpPr>
          <p:spPr>
            <a:xfrm>
              <a:off x="9103693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27" name="Freeform: Shape 366">
              <a:extLst>
                <a:ext uri="{FF2B5EF4-FFF2-40B4-BE49-F238E27FC236}">
                  <a16:creationId xmlns:a16="http://schemas.microsoft.com/office/drawing/2014/main" id="{293CE6DA-13CF-840C-243D-370BD8A5BE40}"/>
                </a:ext>
              </a:extLst>
            </p:cNvPr>
            <p:cNvSpPr/>
            <p:nvPr/>
          </p:nvSpPr>
          <p:spPr>
            <a:xfrm>
              <a:off x="9047686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28" name="Freeform: Shape 367">
              <a:extLst>
                <a:ext uri="{FF2B5EF4-FFF2-40B4-BE49-F238E27FC236}">
                  <a16:creationId xmlns:a16="http://schemas.microsoft.com/office/drawing/2014/main" id="{3C01689A-FD02-D1DB-EA50-8413E0E54675}"/>
                </a:ext>
              </a:extLst>
            </p:cNvPr>
            <p:cNvSpPr/>
            <p:nvPr/>
          </p:nvSpPr>
          <p:spPr>
            <a:xfrm>
              <a:off x="9103693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29" name="Freeform: Shape 368">
              <a:extLst>
                <a:ext uri="{FF2B5EF4-FFF2-40B4-BE49-F238E27FC236}">
                  <a16:creationId xmlns:a16="http://schemas.microsoft.com/office/drawing/2014/main" id="{8802F7B2-6855-BED2-E62A-1DE46EBAF563}"/>
                </a:ext>
              </a:extLst>
            </p:cNvPr>
            <p:cNvSpPr/>
            <p:nvPr/>
          </p:nvSpPr>
          <p:spPr>
            <a:xfrm>
              <a:off x="9053401" y="-1691836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30" name="Freeform: Shape 369">
              <a:extLst>
                <a:ext uri="{FF2B5EF4-FFF2-40B4-BE49-F238E27FC236}">
                  <a16:creationId xmlns:a16="http://schemas.microsoft.com/office/drawing/2014/main" id="{3BBBF377-82EE-39C2-8144-BF86FDBD7022}"/>
                </a:ext>
              </a:extLst>
            </p:cNvPr>
            <p:cNvSpPr/>
            <p:nvPr/>
          </p:nvSpPr>
          <p:spPr>
            <a:xfrm>
              <a:off x="9109408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31" name="Freeform: Shape 370">
              <a:extLst>
                <a:ext uri="{FF2B5EF4-FFF2-40B4-BE49-F238E27FC236}">
                  <a16:creationId xmlns:a16="http://schemas.microsoft.com/office/drawing/2014/main" id="{F581458E-3323-3998-FEB8-C5A667E02473}"/>
                </a:ext>
              </a:extLst>
            </p:cNvPr>
            <p:cNvSpPr/>
            <p:nvPr/>
          </p:nvSpPr>
          <p:spPr>
            <a:xfrm>
              <a:off x="9059116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32" name="Freeform: Shape 371">
              <a:extLst>
                <a:ext uri="{FF2B5EF4-FFF2-40B4-BE49-F238E27FC236}">
                  <a16:creationId xmlns:a16="http://schemas.microsoft.com/office/drawing/2014/main" id="{3D5EC1DB-5370-2D50-6881-D966BB79569A}"/>
                </a:ext>
              </a:extLst>
            </p:cNvPr>
            <p:cNvSpPr/>
            <p:nvPr/>
          </p:nvSpPr>
          <p:spPr>
            <a:xfrm>
              <a:off x="9115123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33" name="Freeform: Shape 372">
              <a:extLst>
                <a:ext uri="{FF2B5EF4-FFF2-40B4-BE49-F238E27FC236}">
                  <a16:creationId xmlns:a16="http://schemas.microsoft.com/office/drawing/2014/main" id="{91E688A7-12D4-2812-1090-04A670D15D1B}"/>
                </a:ext>
              </a:extLst>
            </p:cNvPr>
            <p:cNvSpPr/>
            <p:nvPr/>
          </p:nvSpPr>
          <p:spPr>
            <a:xfrm>
              <a:off x="9059116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34" name="Freeform: Shape 373">
              <a:extLst>
                <a:ext uri="{FF2B5EF4-FFF2-40B4-BE49-F238E27FC236}">
                  <a16:creationId xmlns:a16="http://schemas.microsoft.com/office/drawing/2014/main" id="{24E84434-3450-B0A6-C7AD-229965FD06FE}"/>
                </a:ext>
              </a:extLst>
            </p:cNvPr>
            <p:cNvSpPr/>
            <p:nvPr/>
          </p:nvSpPr>
          <p:spPr>
            <a:xfrm>
              <a:off x="9115123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35" name="Freeform: Shape 374">
              <a:extLst>
                <a:ext uri="{FF2B5EF4-FFF2-40B4-BE49-F238E27FC236}">
                  <a16:creationId xmlns:a16="http://schemas.microsoft.com/office/drawing/2014/main" id="{A4C02079-7E7B-71B0-E2B3-5FA762B2BF0F}"/>
                </a:ext>
              </a:extLst>
            </p:cNvPr>
            <p:cNvSpPr/>
            <p:nvPr/>
          </p:nvSpPr>
          <p:spPr>
            <a:xfrm>
              <a:off x="9059116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36" name="Freeform: Shape 375">
              <a:extLst>
                <a:ext uri="{FF2B5EF4-FFF2-40B4-BE49-F238E27FC236}">
                  <a16:creationId xmlns:a16="http://schemas.microsoft.com/office/drawing/2014/main" id="{5A3D3A57-1668-7F46-5F30-066939ED46CD}"/>
                </a:ext>
              </a:extLst>
            </p:cNvPr>
            <p:cNvSpPr/>
            <p:nvPr/>
          </p:nvSpPr>
          <p:spPr>
            <a:xfrm>
              <a:off x="9115123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37" name="Freeform: Shape 376">
              <a:extLst>
                <a:ext uri="{FF2B5EF4-FFF2-40B4-BE49-F238E27FC236}">
                  <a16:creationId xmlns:a16="http://schemas.microsoft.com/office/drawing/2014/main" id="{3C7AF716-2F81-8E5F-BDE6-F0994B001BE4}"/>
                </a:ext>
              </a:extLst>
            </p:cNvPr>
            <p:cNvSpPr/>
            <p:nvPr/>
          </p:nvSpPr>
          <p:spPr>
            <a:xfrm>
              <a:off x="9124267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38" name="Freeform: Shape 377">
              <a:extLst>
                <a:ext uri="{FF2B5EF4-FFF2-40B4-BE49-F238E27FC236}">
                  <a16:creationId xmlns:a16="http://schemas.microsoft.com/office/drawing/2014/main" id="{CBF82FBD-BDB3-6655-B4DE-5BDEE965C645}"/>
                </a:ext>
              </a:extLst>
            </p:cNvPr>
            <p:cNvSpPr/>
            <p:nvPr/>
          </p:nvSpPr>
          <p:spPr>
            <a:xfrm>
              <a:off x="9180274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39" name="Freeform: Shape 378">
              <a:extLst>
                <a:ext uri="{FF2B5EF4-FFF2-40B4-BE49-F238E27FC236}">
                  <a16:creationId xmlns:a16="http://schemas.microsoft.com/office/drawing/2014/main" id="{96D479E7-6033-E74F-CFAF-86AC83604754}"/>
                </a:ext>
              </a:extLst>
            </p:cNvPr>
            <p:cNvSpPr/>
            <p:nvPr/>
          </p:nvSpPr>
          <p:spPr>
            <a:xfrm>
              <a:off x="9171130" y="-1691836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40" name="Freeform: Shape 379">
              <a:extLst>
                <a:ext uri="{FF2B5EF4-FFF2-40B4-BE49-F238E27FC236}">
                  <a16:creationId xmlns:a16="http://schemas.microsoft.com/office/drawing/2014/main" id="{93DE410B-8B87-FBE5-4B4C-5DBB40DD1440}"/>
                </a:ext>
              </a:extLst>
            </p:cNvPr>
            <p:cNvSpPr/>
            <p:nvPr/>
          </p:nvSpPr>
          <p:spPr>
            <a:xfrm>
              <a:off x="9227137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41" name="Freeform: Shape 380">
              <a:extLst>
                <a:ext uri="{FF2B5EF4-FFF2-40B4-BE49-F238E27FC236}">
                  <a16:creationId xmlns:a16="http://schemas.microsoft.com/office/drawing/2014/main" id="{8349DCA7-6BDC-1215-3D06-2CACB86A70A9}"/>
                </a:ext>
              </a:extLst>
            </p:cNvPr>
            <p:cNvSpPr/>
            <p:nvPr/>
          </p:nvSpPr>
          <p:spPr>
            <a:xfrm>
              <a:off x="9176845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42" name="Freeform: Shape 381">
              <a:extLst>
                <a:ext uri="{FF2B5EF4-FFF2-40B4-BE49-F238E27FC236}">
                  <a16:creationId xmlns:a16="http://schemas.microsoft.com/office/drawing/2014/main" id="{FD54B50A-9571-D1DA-F100-B7CA5EECE073}"/>
                </a:ext>
              </a:extLst>
            </p:cNvPr>
            <p:cNvSpPr/>
            <p:nvPr/>
          </p:nvSpPr>
          <p:spPr>
            <a:xfrm>
              <a:off x="9232852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43" name="Freeform: Shape 382">
              <a:extLst>
                <a:ext uri="{FF2B5EF4-FFF2-40B4-BE49-F238E27FC236}">
                  <a16:creationId xmlns:a16="http://schemas.microsoft.com/office/drawing/2014/main" id="{B90FF2DE-6A96-B4F7-D0B7-A668628F7B29}"/>
                </a:ext>
              </a:extLst>
            </p:cNvPr>
            <p:cNvSpPr/>
            <p:nvPr/>
          </p:nvSpPr>
          <p:spPr>
            <a:xfrm>
              <a:off x="9195133" y="-1691836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44" name="Freeform: Shape 383">
              <a:extLst>
                <a:ext uri="{FF2B5EF4-FFF2-40B4-BE49-F238E27FC236}">
                  <a16:creationId xmlns:a16="http://schemas.microsoft.com/office/drawing/2014/main" id="{7D73FD03-376A-E3D7-B0C4-A37853DD98E9}"/>
                </a:ext>
              </a:extLst>
            </p:cNvPr>
            <p:cNvSpPr/>
            <p:nvPr/>
          </p:nvSpPr>
          <p:spPr>
            <a:xfrm>
              <a:off x="9251140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45" name="Freeform: Shape 384">
              <a:extLst>
                <a:ext uri="{FF2B5EF4-FFF2-40B4-BE49-F238E27FC236}">
                  <a16:creationId xmlns:a16="http://schemas.microsoft.com/office/drawing/2014/main" id="{B627B514-72CC-E499-183D-EE6EAA7FA6CC}"/>
                </a:ext>
              </a:extLst>
            </p:cNvPr>
            <p:cNvSpPr/>
            <p:nvPr/>
          </p:nvSpPr>
          <p:spPr>
            <a:xfrm>
              <a:off x="9200848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46" name="Freeform: Shape 385">
              <a:extLst>
                <a:ext uri="{FF2B5EF4-FFF2-40B4-BE49-F238E27FC236}">
                  <a16:creationId xmlns:a16="http://schemas.microsoft.com/office/drawing/2014/main" id="{8BE46C49-C52A-F899-BDEC-91D3C60D4A29}"/>
                </a:ext>
              </a:extLst>
            </p:cNvPr>
            <p:cNvSpPr/>
            <p:nvPr/>
          </p:nvSpPr>
          <p:spPr>
            <a:xfrm>
              <a:off x="9256855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47" name="Freeform: Shape 386">
              <a:extLst>
                <a:ext uri="{FF2B5EF4-FFF2-40B4-BE49-F238E27FC236}">
                  <a16:creationId xmlns:a16="http://schemas.microsoft.com/office/drawing/2014/main" id="{9FD64F88-8A00-6794-02EC-F97B27CC3459}"/>
                </a:ext>
              </a:extLst>
            </p:cNvPr>
            <p:cNvSpPr/>
            <p:nvPr/>
          </p:nvSpPr>
          <p:spPr>
            <a:xfrm>
              <a:off x="9212278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48" name="Freeform: Shape 387">
              <a:extLst>
                <a:ext uri="{FF2B5EF4-FFF2-40B4-BE49-F238E27FC236}">
                  <a16:creationId xmlns:a16="http://schemas.microsoft.com/office/drawing/2014/main" id="{63B45C1B-3212-1E8A-9046-7939A25E05F6}"/>
                </a:ext>
              </a:extLst>
            </p:cNvPr>
            <p:cNvSpPr/>
            <p:nvPr/>
          </p:nvSpPr>
          <p:spPr>
            <a:xfrm>
              <a:off x="9268285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49" name="Freeform: Shape 388">
              <a:extLst>
                <a:ext uri="{FF2B5EF4-FFF2-40B4-BE49-F238E27FC236}">
                  <a16:creationId xmlns:a16="http://schemas.microsoft.com/office/drawing/2014/main" id="{3EC3C500-9901-8358-10F9-0D785AC781E4}"/>
                </a:ext>
              </a:extLst>
            </p:cNvPr>
            <p:cNvSpPr/>
            <p:nvPr/>
          </p:nvSpPr>
          <p:spPr>
            <a:xfrm>
              <a:off x="9212278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50" name="Freeform: Shape 389">
              <a:extLst>
                <a:ext uri="{FF2B5EF4-FFF2-40B4-BE49-F238E27FC236}">
                  <a16:creationId xmlns:a16="http://schemas.microsoft.com/office/drawing/2014/main" id="{508C5126-BB34-85C9-237C-3439026E575B}"/>
                </a:ext>
              </a:extLst>
            </p:cNvPr>
            <p:cNvSpPr/>
            <p:nvPr/>
          </p:nvSpPr>
          <p:spPr>
            <a:xfrm>
              <a:off x="9268285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51" name="Freeform: Shape 390">
              <a:extLst>
                <a:ext uri="{FF2B5EF4-FFF2-40B4-BE49-F238E27FC236}">
                  <a16:creationId xmlns:a16="http://schemas.microsoft.com/office/drawing/2014/main" id="{074F81C5-6CEF-CC10-C4AD-BF1B070108E1}"/>
                </a:ext>
              </a:extLst>
            </p:cNvPr>
            <p:cNvSpPr/>
            <p:nvPr/>
          </p:nvSpPr>
          <p:spPr>
            <a:xfrm>
              <a:off x="9219136" y="-1691836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52" name="Freeform: Shape 391">
              <a:extLst>
                <a:ext uri="{FF2B5EF4-FFF2-40B4-BE49-F238E27FC236}">
                  <a16:creationId xmlns:a16="http://schemas.microsoft.com/office/drawing/2014/main" id="{749E49A7-EBE9-FF7A-9421-FEC5CA7EF275}"/>
                </a:ext>
              </a:extLst>
            </p:cNvPr>
            <p:cNvSpPr/>
            <p:nvPr/>
          </p:nvSpPr>
          <p:spPr>
            <a:xfrm>
              <a:off x="9274000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53" name="Freeform: Shape 392">
              <a:extLst>
                <a:ext uri="{FF2B5EF4-FFF2-40B4-BE49-F238E27FC236}">
                  <a16:creationId xmlns:a16="http://schemas.microsoft.com/office/drawing/2014/main" id="{99B8AD16-A4EE-89BC-86AD-2662A3F50F9D}"/>
                </a:ext>
              </a:extLst>
            </p:cNvPr>
            <p:cNvSpPr/>
            <p:nvPr/>
          </p:nvSpPr>
          <p:spPr>
            <a:xfrm>
              <a:off x="9219136" y="-1691836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54" name="Freeform: Shape 393">
              <a:extLst>
                <a:ext uri="{FF2B5EF4-FFF2-40B4-BE49-F238E27FC236}">
                  <a16:creationId xmlns:a16="http://schemas.microsoft.com/office/drawing/2014/main" id="{3D490A4B-587A-18F4-E530-164CACEB28DA}"/>
                </a:ext>
              </a:extLst>
            </p:cNvPr>
            <p:cNvSpPr/>
            <p:nvPr/>
          </p:nvSpPr>
          <p:spPr>
            <a:xfrm>
              <a:off x="9274000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55" name="Freeform: Shape 394">
              <a:extLst>
                <a:ext uri="{FF2B5EF4-FFF2-40B4-BE49-F238E27FC236}">
                  <a16:creationId xmlns:a16="http://schemas.microsoft.com/office/drawing/2014/main" id="{FBDA89E4-5208-8F97-7A05-4BA7C6B9BC5A}"/>
                </a:ext>
              </a:extLst>
            </p:cNvPr>
            <p:cNvSpPr/>
            <p:nvPr/>
          </p:nvSpPr>
          <p:spPr>
            <a:xfrm>
              <a:off x="9283144" y="-169183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56" name="Freeform: Shape 395">
              <a:extLst>
                <a:ext uri="{FF2B5EF4-FFF2-40B4-BE49-F238E27FC236}">
                  <a16:creationId xmlns:a16="http://schemas.microsoft.com/office/drawing/2014/main" id="{64E2A53E-7317-9F22-B0C2-0233CB3444E4}"/>
                </a:ext>
              </a:extLst>
            </p:cNvPr>
            <p:cNvSpPr/>
            <p:nvPr/>
          </p:nvSpPr>
          <p:spPr>
            <a:xfrm>
              <a:off x="9339151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57" name="Freeform: Shape 396">
              <a:extLst>
                <a:ext uri="{FF2B5EF4-FFF2-40B4-BE49-F238E27FC236}">
                  <a16:creationId xmlns:a16="http://schemas.microsoft.com/office/drawing/2014/main" id="{2768E0B7-AC32-E3CB-77FB-669A7E0356C3}"/>
                </a:ext>
              </a:extLst>
            </p:cNvPr>
            <p:cNvSpPr/>
            <p:nvPr/>
          </p:nvSpPr>
          <p:spPr>
            <a:xfrm>
              <a:off x="9290002" y="-1691836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58" name="Freeform: Shape 397">
              <a:extLst>
                <a:ext uri="{FF2B5EF4-FFF2-40B4-BE49-F238E27FC236}">
                  <a16:creationId xmlns:a16="http://schemas.microsoft.com/office/drawing/2014/main" id="{6A78D983-ACE5-B3EF-0309-6A75E80C8519}"/>
                </a:ext>
              </a:extLst>
            </p:cNvPr>
            <p:cNvSpPr/>
            <p:nvPr/>
          </p:nvSpPr>
          <p:spPr>
            <a:xfrm>
              <a:off x="9344866" y="-17272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59" name="Freeform: Shape 398">
              <a:extLst>
                <a:ext uri="{FF2B5EF4-FFF2-40B4-BE49-F238E27FC236}">
                  <a16:creationId xmlns:a16="http://schemas.microsoft.com/office/drawing/2014/main" id="{47076789-E16A-6B53-DB86-2488422AA6B8}"/>
                </a:ext>
              </a:extLst>
            </p:cNvPr>
            <p:cNvSpPr/>
            <p:nvPr/>
          </p:nvSpPr>
          <p:spPr>
            <a:xfrm>
              <a:off x="9295717" y="-1678120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60" name="Freeform: Shape 399">
              <a:extLst>
                <a:ext uri="{FF2B5EF4-FFF2-40B4-BE49-F238E27FC236}">
                  <a16:creationId xmlns:a16="http://schemas.microsoft.com/office/drawing/2014/main" id="{A6AD930F-558C-8DE8-2D53-52E02FCAF910}"/>
                </a:ext>
              </a:extLst>
            </p:cNvPr>
            <p:cNvSpPr/>
            <p:nvPr/>
          </p:nvSpPr>
          <p:spPr>
            <a:xfrm>
              <a:off x="9351724" y="-1713553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61" name="Freeform: Shape 400">
              <a:extLst>
                <a:ext uri="{FF2B5EF4-FFF2-40B4-BE49-F238E27FC236}">
                  <a16:creationId xmlns:a16="http://schemas.microsoft.com/office/drawing/2014/main" id="{4905078C-2595-2071-FDCF-1BE071616E7F}"/>
                </a:ext>
              </a:extLst>
            </p:cNvPr>
            <p:cNvSpPr/>
            <p:nvPr/>
          </p:nvSpPr>
          <p:spPr>
            <a:xfrm>
              <a:off x="9301432" y="-1678120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62" name="Freeform: Shape 401">
              <a:extLst>
                <a:ext uri="{FF2B5EF4-FFF2-40B4-BE49-F238E27FC236}">
                  <a16:creationId xmlns:a16="http://schemas.microsoft.com/office/drawing/2014/main" id="{DB024D0B-4652-D8EB-6271-9B2F56A30222}"/>
                </a:ext>
              </a:extLst>
            </p:cNvPr>
            <p:cNvSpPr/>
            <p:nvPr/>
          </p:nvSpPr>
          <p:spPr>
            <a:xfrm>
              <a:off x="9357439" y="-1713553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63" name="Freeform: Shape 402">
              <a:extLst>
                <a:ext uri="{FF2B5EF4-FFF2-40B4-BE49-F238E27FC236}">
                  <a16:creationId xmlns:a16="http://schemas.microsoft.com/office/drawing/2014/main" id="{A386AABC-EB52-82C2-26A6-C0FA397C8E18}"/>
                </a:ext>
              </a:extLst>
            </p:cNvPr>
            <p:cNvSpPr/>
            <p:nvPr/>
          </p:nvSpPr>
          <p:spPr>
            <a:xfrm>
              <a:off x="9307147" y="-1678120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64" name="Freeform: Shape 403">
              <a:extLst>
                <a:ext uri="{FF2B5EF4-FFF2-40B4-BE49-F238E27FC236}">
                  <a16:creationId xmlns:a16="http://schemas.microsoft.com/office/drawing/2014/main" id="{6EB314E5-FDFB-BB07-1C80-9FD684C59B8C}"/>
                </a:ext>
              </a:extLst>
            </p:cNvPr>
            <p:cNvSpPr/>
            <p:nvPr/>
          </p:nvSpPr>
          <p:spPr>
            <a:xfrm>
              <a:off x="9363154" y="-1713553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65" name="Freeform: Shape 404">
              <a:extLst>
                <a:ext uri="{FF2B5EF4-FFF2-40B4-BE49-F238E27FC236}">
                  <a16:creationId xmlns:a16="http://schemas.microsoft.com/office/drawing/2014/main" id="{9FB07B72-EEBD-4420-680D-9A52F42F8E52}"/>
                </a:ext>
              </a:extLst>
            </p:cNvPr>
            <p:cNvSpPr/>
            <p:nvPr/>
          </p:nvSpPr>
          <p:spPr>
            <a:xfrm>
              <a:off x="9312862" y="-1678120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66" name="Freeform: Shape 405">
              <a:extLst>
                <a:ext uri="{FF2B5EF4-FFF2-40B4-BE49-F238E27FC236}">
                  <a16:creationId xmlns:a16="http://schemas.microsoft.com/office/drawing/2014/main" id="{64C01CB8-C5ED-59B1-F2A0-AC547500AEB4}"/>
                </a:ext>
              </a:extLst>
            </p:cNvPr>
            <p:cNvSpPr/>
            <p:nvPr/>
          </p:nvSpPr>
          <p:spPr>
            <a:xfrm>
              <a:off x="9368869" y="-1713553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67" name="Freeform: Shape 406">
              <a:extLst>
                <a:ext uri="{FF2B5EF4-FFF2-40B4-BE49-F238E27FC236}">
                  <a16:creationId xmlns:a16="http://schemas.microsoft.com/office/drawing/2014/main" id="{9F6537F6-56E2-F060-AA28-9EC3FF66DC1A}"/>
                </a:ext>
              </a:extLst>
            </p:cNvPr>
            <p:cNvSpPr/>
            <p:nvPr/>
          </p:nvSpPr>
          <p:spPr>
            <a:xfrm>
              <a:off x="9336865" y="-1678120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68" name="Freeform: Shape 407">
              <a:extLst>
                <a:ext uri="{FF2B5EF4-FFF2-40B4-BE49-F238E27FC236}">
                  <a16:creationId xmlns:a16="http://schemas.microsoft.com/office/drawing/2014/main" id="{74B303C9-2BC9-1BD1-053D-28D3166C67AF}"/>
                </a:ext>
              </a:extLst>
            </p:cNvPr>
            <p:cNvSpPr/>
            <p:nvPr/>
          </p:nvSpPr>
          <p:spPr>
            <a:xfrm>
              <a:off x="9392872" y="-1713553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69" name="Freeform: Shape 408">
              <a:extLst>
                <a:ext uri="{FF2B5EF4-FFF2-40B4-BE49-F238E27FC236}">
                  <a16:creationId xmlns:a16="http://schemas.microsoft.com/office/drawing/2014/main" id="{405DE994-AFA0-C4E0-BB0D-525FBD60DB82}"/>
                </a:ext>
              </a:extLst>
            </p:cNvPr>
            <p:cNvSpPr/>
            <p:nvPr/>
          </p:nvSpPr>
          <p:spPr>
            <a:xfrm>
              <a:off x="9419161" y="-166440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70" name="Freeform: Shape 409">
              <a:extLst>
                <a:ext uri="{FF2B5EF4-FFF2-40B4-BE49-F238E27FC236}">
                  <a16:creationId xmlns:a16="http://schemas.microsoft.com/office/drawing/2014/main" id="{CB59ABFC-45D7-4A25-1879-DA7433C42949}"/>
                </a:ext>
              </a:extLst>
            </p:cNvPr>
            <p:cNvSpPr/>
            <p:nvPr/>
          </p:nvSpPr>
          <p:spPr>
            <a:xfrm>
              <a:off x="9475168" y="-1698694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71" name="Freeform: Shape 410">
              <a:extLst>
                <a:ext uri="{FF2B5EF4-FFF2-40B4-BE49-F238E27FC236}">
                  <a16:creationId xmlns:a16="http://schemas.microsoft.com/office/drawing/2014/main" id="{41754A38-08E3-F136-1D78-575A46A1FEB9}"/>
                </a:ext>
              </a:extLst>
            </p:cNvPr>
            <p:cNvSpPr/>
            <p:nvPr/>
          </p:nvSpPr>
          <p:spPr>
            <a:xfrm>
              <a:off x="9419161" y="-166440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72" name="Freeform: Shape 411">
              <a:extLst>
                <a:ext uri="{FF2B5EF4-FFF2-40B4-BE49-F238E27FC236}">
                  <a16:creationId xmlns:a16="http://schemas.microsoft.com/office/drawing/2014/main" id="{55D71B9C-F8D2-5104-12CD-FC082DB0D0D3}"/>
                </a:ext>
              </a:extLst>
            </p:cNvPr>
            <p:cNvSpPr/>
            <p:nvPr/>
          </p:nvSpPr>
          <p:spPr>
            <a:xfrm>
              <a:off x="9475168" y="-1698694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73" name="Freeform: Shape 412">
              <a:extLst>
                <a:ext uri="{FF2B5EF4-FFF2-40B4-BE49-F238E27FC236}">
                  <a16:creationId xmlns:a16="http://schemas.microsoft.com/office/drawing/2014/main" id="{6BA343F9-A194-83AE-DC26-68090235DD64}"/>
                </a:ext>
              </a:extLst>
            </p:cNvPr>
            <p:cNvSpPr/>
            <p:nvPr/>
          </p:nvSpPr>
          <p:spPr>
            <a:xfrm>
              <a:off x="9525460" y="-163468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74" name="Freeform: Shape 413">
              <a:extLst>
                <a:ext uri="{FF2B5EF4-FFF2-40B4-BE49-F238E27FC236}">
                  <a16:creationId xmlns:a16="http://schemas.microsoft.com/office/drawing/2014/main" id="{BB613B6E-DC0B-3F22-1C42-837F2933530F}"/>
                </a:ext>
              </a:extLst>
            </p:cNvPr>
            <p:cNvSpPr/>
            <p:nvPr/>
          </p:nvSpPr>
          <p:spPr>
            <a:xfrm>
              <a:off x="9581467" y="-1668976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75" name="Freeform: Shape 414">
              <a:extLst>
                <a:ext uri="{FF2B5EF4-FFF2-40B4-BE49-F238E27FC236}">
                  <a16:creationId xmlns:a16="http://schemas.microsoft.com/office/drawing/2014/main" id="{9E304606-394C-C9C5-5F5A-2065CFDE6795}"/>
                </a:ext>
              </a:extLst>
            </p:cNvPr>
            <p:cNvSpPr/>
            <p:nvPr/>
          </p:nvSpPr>
          <p:spPr>
            <a:xfrm>
              <a:off x="9538033" y="-1619827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76" name="Freeform: Shape 415">
              <a:extLst>
                <a:ext uri="{FF2B5EF4-FFF2-40B4-BE49-F238E27FC236}">
                  <a16:creationId xmlns:a16="http://schemas.microsoft.com/office/drawing/2014/main" id="{858A5789-5230-0012-CCC5-B3539BA876A0}"/>
                </a:ext>
              </a:extLst>
            </p:cNvPr>
            <p:cNvSpPr/>
            <p:nvPr/>
          </p:nvSpPr>
          <p:spPr>
            <a:xfrm>
              <a:off x="9592897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77" name="Freeform: Shape 416">
              <a:extLst>
                <a:ext uri="{FF2B5EF4-FFF2-40B4-BE49-F238E27FC236}">
                  <a16:creationId xmlns:a16="http://schemas.microsoft.com/office/drawing/2014/main" id="{7DAC0BE1-873E-DEEE-B9E2-E643C620D19E}"/>
                </a:ext>
              </a:extLst>
            </p:cNvPr>
            <p:cNvSpPr/>
            <p:nvPr/>
          </p:nvSpPr>
          <p:spPr>
            <a:xfrm>
              <a:off x="9538033" y="-1619827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78" name="Freeform: Shape 417">
              <a:extLst>
                <a:ext uri="{FF2B5EF4-FFF2-40B4-BE49-F238E27FC236}">
                  <a16:creationId xmlns:a16="http://schemas.microsoft.com/office/drawing/2014/main" id="{9A2EB0B4-8B3C-5964-7CBC-21DD0331F554}"/>
                </a:ext>
              </a:extLst>
            </p:cNvPr>
            <p:cNvSpPr/>
            <p:nvPr/>
          </p:nvSpPr>
          <p:spPr>
            <a:xfrm>
              <a:off x="9592897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79" name="Freeform: Shape 418">
              <a:extLst>
                <a:ext uri="{FF2B5EF4-FFF2-40B4-BE49-F238E27FC236}">
                  <a16:creationId xmlns:a16="http://schemas.microsoft.com/office/drawing/2014/main" id="{1BD840BD-00BE-0DF0-8936-8896793467E4}"/>
                </a:ext>
              </a:extLst>
            </p:cNvPr>
            <p:cNvSpPr/>
            <p:nvPr/>
          </p:nvSpPr>
          <p:spPr>
            <a:xfrm>
              <a:off x="9543748" y="-1619827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80" name="Freeform: Shape 419">
              <a:extLst>
                <a:ext uri="{FF2B5EF4-FFF2-40B4-BE49-F238E27FC236}">
                  <a16:creationId xmlns:a16="http://schemas.microsoft.com/office/drawing/2014/main" id="{67FD89CC-3506-AAEF-6D79-0DE94ECDFBD0}"/>
                </a:ext>
              </a:extLst>
            </p:cNvPr>
            <p:cNvSpPr/>
            <p:nvPr/>
          </p:nvSpPr>
          <p:spPr>
            <a:xfrm>
              <a:off x="9599755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81" name="Freeform: Shape 420">
              <a:extLst>
                <a:ext uri="{FF2B5EF4-FFF2-40B4-BE49-F238E27FC236}">
                  <a16:creationId xmlns:a16="http://schemas.microsoft.com/office/drawing/2014/main" id="{C5048E05-7928-9932-52CF-E99E4C247823}"/>
                </a:ext>
              </a:extLst>
            </p:cNvPr>
            <p:cNvSpPr/>
            <p:nvPr/>
          </p:nvSpPr>
          <p:spPr>
            <a:xfrm>
              <a:off x="9549463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82" name="Freeform: Shape 421">
              <a:extLst>
                <a:ext uri="{FF2B5EF4-FFF2-40B4-BE49-F238E27FC236}">
                  <a16:creationId xmlns:a16="http://schemas.microsoft.com/office/drawing/2014/main" id="{0BC14EE5-54BE-E8AB-58E9-DB1DE87DB61A}"/>
                </a:ext>
              </a:extLst>
            </p:cNvPr>
            <p:cNvSpPr/>
            <p:nvPr/>
          </p:nvSpPr>
          <p:spPr>
            <a:xfrm>
              <a:off x="9605470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83" name="Freeform: Shape 422">
              <a:extLst>
                <a:ext uri="{FF2B5EF4-FFF2-40B4-BE49-F238E27FC236}">
                  <a16:creationId xmlns:a16="http://schemas.microsoft.com/office/drawing/2014/main" id="{8944175D-1305-172D-4496-EF757A6652B2}"/>
                </a:ext>
              </a:extLst>
            </p:cNvPr>
            <p:cNvSpPr/>
            <p:nvPr/>
          </p:nvSpPr>
          <p:spPr>
            <a:xfrm>
              <a:off x="9555178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84" name="Freeform: Shape 423">
              <a:extLst>
                <a:ext uri="{FF2B5EF4-FFF2-40B4-BE49-F238E27FC236}">
                  <a16:creationId xmlns:a16="http://schemas.microsoft.com/office/drawing/2014/main" id="{186CD9A7-38EB-1F1C-CF00-A835A92248E3}"/>
                </a:ext>
              </a:extLst>
            </p:cNvPr>
            <p:cNvSpPr/>
            <p:nvPr/>
          </p:nvSpPr>
          <p:spPr>
            <a:xfrm>
              <a:off x="9611185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85" name="Freeform: Shape 424">
              <a:extLst>
                <a:ext uri="{FF2B5EF4-FFF2-40B4-BE49-F238E27FC236}">
                  <a16:creationId xmlns:a16="http://schemas.microsoft.com/office/drawing/2014/main" id="{7117648A-52D2-F438-784F-8C9447E09460}"/>
                </a:ext>
              </a:extLst>
            </p:cNvPr>
            <p:cNvSpPr/>
            <p:nvPr/>
          </p:nvSpPr>
          <p:spPr>
            <a:xfrm>
              <a:off x="9555178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86" name="Freeform: Shape 425">
              <a:extLst>
                <a:ext uri="{FF2B5EF4-FFF2-40B4-BE49-F238E27FC236}">
                  <a16:creationId xmlns:a16="http://schemas.microsoft.com/office/drawing/2014/main" id="{EB46FE27-80EC-C818-0ACE-EE637A0DB97B}"/>
                </a:ext>
              </a:extLst>
            </p:cNvPr>
            <p:cNvSpPr/>
            <p:nvPr/>
          </p:nvSpPr>
          <p:spPr>
            <a:xfrm>
              <a:off x="9611185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87" name="Freeform: Shape 426">
              <a:extLst>
                <a:ext uri="{FF2B5EF4-FFF2-40B4-BE49-F238E27FC236}">
                  <a16:creationId xmlns:a16="http://schemas.microsoft.com/office/drawing/2014/main" id="{3343D4C0-C0AB-CAAE-9AD9-EFBA3BD7217D}"/>
                </a:ext>
              </a:extLst>
            </p:cNvPr>
            <p:cNvSpPr/>
            <p:nvPr/>
          </p:nvSpPr>
          <p:spPr>
            <a:xfrm>
              <a:off x="9560893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88" name="Freeform: Shape 427">
              <a:extLst>
                <a:ext uri="{FF2B5EF4-FFF2-40B4-BE49-F238E27FC236}">
                  <a16:creationId xmlns:a16="http://schemas.microsoft.com/office/drawing/2014/main" id="{DCD4A0F9-15AC-49F4-CE05-44244CAAA689}"/>
                </a:ext>
              </a:extLst>
            </p:cNvPr>
            <p:cNvSpPr/>
            <p:nvPr/>
          </p:nvSpPr>
          <p:spPr>
            <a:xfrm>
              <a:off x="9616900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89" name="Freeform: Shape 428">
              <a:extLst>
                <a:ext uri="{FF2B5EF4-FFF2-40B4-BE49-F238E27FC236}">
                  <a16:creationId xmlns:a16="http://schemas.microsoft.com/office/drawing/2014/main" id="{9474AA0A-519D-2C76-8C35-F15B8C6CD745}"/>
                </a:ext>
              </a:extLst>
            </p:cNvPr>
            <p:cNvSpPr/>
            <p:nvPr/>
          </p:nvSpPr>
          <p:spPr>
            <a:xfrm>
              <a:off x="9614614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90" name="Freeform: Shape 429">
              <a:extLst>
                <a:ext uri="{FF2B5EF4-FFF2-40B4-BE49-F238E27FC236}">
                  <a16:creationId xmlns:a16="http://schemas.microsoft.com/office/drawing/2014/main" id="{8D855EDB-DFEA-AFC9-6FB0-1C41206585CB}"/>
                </a:ext>
              </a:extLst>
            </p:cNvPr>
            <p:cNvSpPr/>
            <p:nvPr/>
          </p:nvSpPr>
          <p:spPr>
            <a:xfrm>
              <a:off x="9670621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91" name="Freeform: Shape 430">
              <a:extLst>
                <a:ext uri="{FF2B5EF4-FFF2-40B4-BE49-F238E27FC236}">
                  <a16:creationId xmlns:a16="http://schemas.microsoft.com/office/drawing/2014/main" id="{0B74D778-F310-0A90-F5E9-FEF0703BA13F}"/>
                </a:ext>
              </a:extLst>
            </p:cNvPr>
            <p:cNvSpPr/>
            <p:nvPr/>
          </p:nvSpPr>
          <p:spPr>
            <a:xfrm>
              <a:off x="9655762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92" name="Freeform: Shape 431">
              <a:extLst>
                <a:ext uri="{FF2B5EF4-FFF2-40B4-BE49-F238E27FC236}">
                  <a16:creationId xmlns:a16="http://schemas.microsoft.com/office/drawing/2014/main" id="{41D8BE3B-22B6-8198-B599-B71E8BD47671}"/>
                </a:ext>
              </a:extLst>
            </p:cNvPr>
            <p:cNvSpPr/>
            <p:nvPr/>
          </p:nvSpPr>
          <p:spPr>
            <a:xfrm>
              <a:off x="9711769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93" name="Freeform: Shape 432">
              <a:extLst>
                <a:ext uri="{FF2B5EF4-FFF2-40B4-BE49-F238E27FC236}">
                  <a16:creationId xmlns:a16="http://schemas.microsoft.com/office/drawing/2014/main" id="{933AAF75-28D8-00D3-461E-678E2EC50AC1}"/>
                </a:ext>
              </a:extLst>
            </p:cNvPr>
            <p:cNvSpPr/>
            <p:nvPr/>
          </p:nvSpPr>
          <p:spPr>
            <a:xfrm>
              <a:off x="9661477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94" name="Freeform: Shape 433">
              <a:extLst>
                <a:ext uri="{FF2B5EF4-FFF2-40B4-BE49-F238E27FC236}">
                  <a16:creationId xmlns:a16="http://schemas.microsoft.com/office/drawing/2014/main" id="{729E4556-3124-8544-575C-4062E8A45FE2}"/>
                </a:ext>
              </a:extLst>
            </p:cNvPr>
            <p:cNvSpPr/>
            <p:nvPr/>
          </p:nvSpPr>
          <p:spPr>
            <a:xfrm>
              <a:off x="9717484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95" name="Freeform: Shape 434">
              <a:extLst>
                <a:ext uri="{FF2B5EF4-FFF2-40B4-BE49-F238E27FC236}">
                  <a16:creationId xmlns:a16="http://schemas.microsoft.com/office/drawing/2014/main" id="{AC6D59F6-5460-B870-810E-0DC541E622D9}"/>
                </a:ext>
              </a:extLst>
            </p:cNvPr>
            <p:cNvSpPr/>
            <p:nvPr/>
          </p:nvSpPr>
          <p:spPr>
            <a:xfrm>
              <a:off x="9661477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96" name="Freeform: Shape 435">
              <a:extLst>
                <a:ext uri="{FF2B5EF4-FFF2-40B4-BE49-F238E27FC236}">
                  <a16:creationId xmlns:a16="http://schemas.microsoft.com/office/drawing/2014/main" id="{B0E8CD01-DC40-D5AA-5B7D-0084A845C697}"/>
                </a:ext>
              </a:extLst>
            </p:cNvPr>
            <p:cNvSpPr/>
            <p:nvPr/>
          </p:nvSpPr>
          <p:spPr>
            <a:xfrm>
              <a:off x="9717484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97" name="Freeform: Shape 436">
              <a:extLst>
                <a:ext uri="{FF2B5EF4-FFF2-40B4-BE49-F238E27FC236}">
                  <a16:creationId xmlns:a16="http://schemas.microsoft.com/office/drawing/2014/main" id="{C3D8E095-671C-234F-1641-0A8E8680A0E7}"/>
                </a:ext>
              </a:extLst>
            </p:cNvPr>
            <p:cNvSpPr/>
            <p:nvPr/>
          </p:nvSpPr>
          <p:spPr>
            <a:xfrm>
              <a:off x="9667192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98" name="Freeform: Shape 437">
              <a:extLst>
                <a:ext uri="{FF2B5EF4-FFF2-40B4-BE49-F238E27FC236}">
                  <a16:creationId xmlns:a16="http://schemas.microsoft.com/office/drawing/2014/main" id="{07B4E7D1-0A31-2F92-665A-547E8B32FFD9}"/>
                </a:ext>
              </a:extLst>
            </p:cNvPr>
            <p:cNvSpPr/>
            <p:nvPr/>
          </p:nvSpPr>
          <p:spPr>
            <a:xfrm>
              <a:off x="9723199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399" name="Freeform: Shape 438">
              <a:extLst>
                <a:ext uri="{FF2B5EF4-FFF2-40B4-BE49-F238E27FC236}">
                  <a16:creationId xmlns:a16="http://schemas.microsoft.com/office/drawing/2014/main" id="{D7A17919-1AB3-008F-5F3E-61B688CFF815}"/>
                </a:ext>
              </a:extLst>
            </p:cNvPr>
            <p:cNvSpPr/>
            <p:nvPr/>
          </p:nvSpPr>
          <p:spPr>
            <a:xfrm>
              <a:off x="9667192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00" name="Freeform: Shape 439">
              <a:extLst>
                <a:ext uri="{FF2B5EF4-FFF2-40B4-BE49-F238E27FC236}">
                  <a16:creationId xmlns:a16="http://schemas.microsoft.com/office/drawing/2014/main" id="{07D6AB1B-0028-FA05-E78B-1F0BEB1F12C3}"/>
                </a:ext>
              </a:extLst>
            </p:cNvPr>
            <p:cNvSpPr/>
            <p:nvPr/>
          </p:nvSpPr>
          <p:spPr>
            <a:xfrm>
              <a:off x="9723199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01" name="Freeform: Shape 440">
              <a:extLst>
                <a:ext uri="{FF2B5EF4-FFF2-40B4-BE49-F238E27FC236}">
                  <a16:creationId xmlns:a16="http://schemas.microsoft.com/office/drawing/2014/main" id="{386B2471-6D1B-290A-9A4D-CBC54C33BDFA}"/>
                </a:ext>
              </a:extLst>
            </p:cNvPr>
            <p:cNvSpPr/>
            <p:nvPr/>
          </p:nvSpPr>
          <p:spPr>
            <a:xfrm>
              <a:off x="9672907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02" name="Freeform: Shape 441">
              <a:extLst>
                <a:ext uri="{FF2B5EF4-FFF2-40B4-BE49-F238E27FC236}">
                  <a16:creationId xmlns:a16="http://schemas.microsoft.com/office/drawing/2014/main" id="{BFFFCA0D-36D6-A1EC-F74D-B3D2C4FF24B8}"/>
                </a:ext>
              </a:extLst>
            </p:cNvPr>
            <p:cNvSpPr/>
            <p:nvPr/>
          </p:nvSpPr>
          <p:spPr>
            <a:xfrm>
              <a:off x="9728914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03" name="Freeform: Shape 442">
              <a:extLst>
                <a:ext uri="{FF2B5EF4-FFF2-40B4-BE49-F238E27FC236}">
                  <a16:creationId xmlns:a16="http://schemas.microsoft.com/office/drawing/2014/main" id="{8256957F-0640-CBF8-BAD7-F5970B7430D7}"/>
                </a:ext>
              </a:extLst>
            </p:cNvPr>
            <p:cNvSpPr/>
            <p:nvPr/>
          </p:nvSpPr>
          <p:spPr>
            <a:xfrm>
              <a:off x="9679765" y="-1619827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04" name="Freeform: Shape 443">
              <a:extLst>
                <a:ext uri="{FF2B5EF4-FFF2-40B4-BE49-F238E27FC236}">
                  <a16:creationId xmlns:a16="http://schemas.microsoft.com/office/drawing/2014/main" id="{9140596E-F1A9-F45A-FF3E-7128ACC79F28}"/>
                </a:ext>
              </a:extLst>
            </p:cNvPr>
            <p:cNvSpPr/>
            <p:nvPr/>
          </p:nvSpPr>
          <p:spPr>
            <a:xfrm>
              <a:off x="9735772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05" name="Freeform: Shape 444">
              <a:extLst>
                <a:ext uri="{FF2B5EF4-FFF2-40B4-BE49-F238E27FC236}">
                  <a16:creationId xmlns:a16="http://schemas.microsoft.com/office/drawing/2014/main" id="{D45F2DFC-0085-9777-70DE-0F092C553776}"/>
                </a:ext>
              </a:extLst>
            </p:cNvPr>
            <p:cNvSpPr/>
            <p:nvPr/>
          </p:nvSpPr>
          <p:spPr>
            <a:xfrm>
              <a:off x="9696910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06" name="Freeform: Shape 445">
              <a:extLst>
                <a:ext uri="{FF2B5EF4-FFF2-40B4-BE49-F238E27FC236}">
                  <a16:creationId xmlns:a16="http://schemas.microsoft.com/office/drawing/2014/main" id="{67662579-88EA-A8B0-A966-2EC3ECDC88AC}"/>
                </a:ext>
              </a:extLst>
            </p:cNvPr>
            <p:cNvSpPr/>
            <p:nvPr/>
          </p:nvSpPr>
          <p:spPr>
            <a:xfrm>
              <a:off x="9752917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07" name="Freeform: Shape 446">
              <a:extLst>
                <a:ext uri="{FF2B5EF4-FFF2-40B4-BE49-F238E27FC236}">
                  <a16:creationId xmlns:a16="http://schemas.microsoft.com/office/drawing/2014/main" id="{C3F991B3-5465-0727-C6E3-18CF0983187A}"/>
                </a:ext>
              </a:extLst>
            </p:cNvPr>
            <p:cNvSpPr/>
            <p:nvPr/>
          </p:nvSpPr>
          <p:spPr>
            <a:xfrm>
              <a:off x="9726628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08" name="Freeform: Shape 447">
              <a:extLst>
                <a:ext uri="{FF2B5EF4-FFF2-40B4-BE49-F238E27FC236}">
                  <a16:creationId xmlns:a16="http://schemas.microsoft.com/office/drawing/2014/main" id="{B75B07D3-A10D-DA83-6932-E49CF3ED161A}"/>
                </a:ext>
              </a:extLst>
            </p:cNvPr>
            <p:cNvSpPr/>
            <p:nvPr/>
          </p:nvSpPr>
          <p:spPr>
            <a:xfrm>
              <a:off x="9782635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09" name="Freeform: Shape 448">
              <a:extLst>
                <a:ext uri="{FF2B5EF4-FFF2-40B4-BE49-F238E27FC236}">
                  <a16:creationId xmlns:a16="http://schemas.microsoft.com/office/drawing/2014/main" id="{CCBA397B-8F31-C6D8-BF15-C5DF60CF435A}"/>
                </a:ext>
              </a:extLst>
            </p:cNvPr>
            <p:cNvSpPr/>
            <p:nvPr/>
          </p:nvSpPr>
          <p:spPr>
            <a:xfrm>
              <a:off x="9779206" y="-161982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10" name="Freeform: Shape 449">
              <a:extLst>
                <a:ext uri="{FF2B5EF4-FFF2-40B4-BE49-F238E27FC236}">
                  <a16:creationId xmlns:a16="http://schemas.microsoft.com/office/drawing/2014/main" id="{8E9EC8AB-4A73-CAB8-DB95-B64F3C55328B}"/>
                </a:ext>
              </a:extLst>
            </p:cNvPr>
            <p:cNvSpPr/>
            <p:nvPr/>
          </p:nvSpPr>
          <p:spPr>
            <a:xfrm>
              <a:off x="9835213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11" name="Freeform: Shape 450">
              <a:extLst>
                <a:ext uri="{FF2B5EF4-FFF2-40B4-BE49-F238E27FC236}">
                  <a16:creationId xmlns:a16="http://schemas.microsoft.com/office/drawing/2014/main" id="{144FBDA3-B0B3-51BB-E7F9-4D739D057DD6}"/>
                </a:ext>
              </a:extLst>
            </p:cNvPr>
            <p:cNvSpPr/>
            <p:nvPr/>
          </p:nvSpPr>
          <p:spPr>
            <a:xfrm>
              <a:off x="9786064" y="-1619827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12" name="Freeform: Shape 451">
              <a:extLst>
                <a:ext uri="{FF2B5EF4-FFF2-40B4-BE49-F238E27FC236}">
                  <a16:creationId xmlns:a16="http://schemas.microsoft.com/office/drawing/2014/main" id="{4EA76D2D-8280-F7DC-B02D-EA022989A94B}"/>
                </a:ext>
              </a:extLst>
            </p:cNvPr>
            <p:cNvSpPr/>
            <p:nvPr/>
          </p:nvSpPr>
          <p:spPr>
            <a:xfrm>
              <a:off x="9840928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13" name="Freeform: Shape 452">
              <a:extLst>
                <a:ext uri="{FF2B5EF4-FFF2-40B4-BE49-F238E27FC236}">
                  <a16:creationId xmlns:a16="http://schemas.microsoft.com/office/drawing/2014/main" id="{620B1FA9-D434-6264-3454-55946AD2FC1F}"/>
                </a:ext>
              </a:extLst>
            </p:cNvPr>
            <p:cNvSpPr/>
            <p:nvPr/>
          </p:nvSpPr>
          <p:spPr>
            <a:xfrm>
              <a:off x="9786064" y="-1619827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14" name="Freeform: Shape 453">
              <a:extLst>
                <a:ext uri="{FF2B5EF4-FFF2-40B4-BE49-F238E27FC236}">
                  <a16:creationId xmlns:a16="http://schemas.microsoft.com/office/drawing/2014/main" id="{73C27B60-FD6E-EFDE-A8B0-DE6A519E5AFA}"/>
                </a:ext>
              </a:extLst>
            </p:cNvPr>
            <p:cNvSpPr/>
            <p:nvPr/>
          </p:nvSpPr>
          <p:spPr>
            <a:xfrm>
              <a:off x="9840928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15" name="Freeform: Shape 454">
              <a:extLst>
                <a:ext uri="{FF2B5EF4-FFF2-40B4-BE49-F238E27FC236}">
                  <a16:creationId xmlns:a16="http://schemas.microsoft.com/office/drawing/2014/main" id="{84739A5E-00D9-12F6-DFF4-438A2C9D8B62}"/>
                </a:ext>
              </a:extLst>
            </p:cNvPr>
            <p:cNvSpPr/>
            <p:nvPr/>
          </p:nvSpPr>
          <p:spPr>
            <a:xfrm>
              <a:off x="9791779" y="-1619827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16" name="Freeform: Shape 455">
              <a:extLst>
                <a:ext uri="{FF2B5EF4-FFF2-40B4-BE49-F238E27FC236}">
                  <a16:creationId xmlns:a16="http://schemas.microsoft.com/office/drawing/2014/main" id="{4CF67DCF-803F-5196-E606-DA62F4335C86}"/>
                </a:ext>
              </a:extLst>
            </p:cNvPr>
            <p:cNvSpPr/>
            <p:nvPr/>
          </p:nvSpPr>
          <p:spPr>
            <a:xfrm>
              <a:off x="9847786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17" name="Freeform: Shape 456">
              <a:extLst>
                <a:ext uri="{FF2B5EF4-FFF2-40B4-BE49-F238E27FC236}">
                  <a16:creationId xmlns:a16="http://schemas.microsoft.com/office/drawing/2014/main" id="{C7956F0F-A43D-D1FA-BE3B-D7A6B6D411E6}"/>
                </a:ext>
              </a:extLst>
            </p:cNvPr>
            <p:cNvSpPr/>
            <p:nvPr/>
          </p:nvSpPr>
          <p:spPr>
            <a:xfrm>
              <a:off x="9791779" y="-1619827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18" name="Freeform: Shape 457">
              <a:extLst>
                <a:ext uri="{FF2B5EF4-FFF2-40B4-BE49-F238E27FC236}">
                  <a16:creationId xmlns:a16="http://schemas.microsoft.com/office/drawing/2014/main" id="{BBA03631-9807-286E-4148-B9F75EB05285}"/>
                </a:ext>
              </a:extLst>
            </p:cNvPr>
            <p:cNvSpPr/>
            <p:nvPr/>
          </p:nvSpPr>
          <p:spPr>
            <a:xfrm>
              <a:off x="9847786" y="-165411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19" name="Freeform: Shape 458">
              <a:extLst>
                <a:ext uri="{FF2B5EF4-FFF2-40B4-BE49-F238E27FC236}">
                  <a16:creationId xmlns:a16="http://schemas.microsoft.com/office/drawing/2014/main" id="{8920FABF-9073-40E1-4E0A-B9CFB92467D5}"/>
                </a:ext>
              </a:extLst>
            </p:cNvPr>
            <p:cNvSpPr/>
            <p:nvPr/>
          </p:nvSpPr>
          <p:spPr>
            <a:xfrm>
              <a:off x="9803209" y="-1598110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20" name="Freeform: Shape 459">
              <a:extLst>
                <a:ext uri="{FF2B5EF4-FFF2-40B4-BE49-F238E27FC236}">
                  <a16:creationId xmlns:a16="http://schemas.microsoft.com/office/drawing/2014/main" id="{A03AA2B4-1321-E4E8-BE61-1AD80645A33E}"/>
                </a:ext>
              </a:extLst>
            </p:cNvPr>
            <p:cNvSpPr/>
            <p:nvPr/>
          </p:nvSpPr>
          <p:spPr>
            <a:xfrm>
              <a:off x="9859216" y="-1632400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21" name="Freeform: Shape 460">
              <a:extLst>
                <a:ext uri="{FF2B5EF4-FFF2-40B4-BE49-F238E27FC236}">
                  <a16:creationId xmlns:a16="http://schemas.microsoft.com/office/drawing/2014/main" id="{6FEA264D-5EDE-AE11-38C0-C2A71F8745D5}"/>
                </a:ext>
              </a:extLst>
            </p:cNvPr>
            <p:cNvSpPr/>
            <p:nvPr/>
          </p:nvSpPr>
          <p:spPr>
            <a:xfrm>
              <a:off x="9803209" y="-1598110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22" name="Freeform: Shape 461">
              <a:extLst>
                <a:ext uri="{FF2B5EF4-FFF2-40B4-BE49-F238E27FC236}">
                  <a16:creationId xmlns:a16="http://schemas.microsoft.com/office/drawing/2014/main" id="{4FC06D00-0D19-71E9-9266-E729FE1C86EA}"/>
                </a:ext>
              </a:extLst>
            </p:cNvPr>
            <p:cNvSpPr/>
            <p:nvPr/>
          </p:nvSpPr>
          <p:spPr>
            <a:xfrm>
              <a:off x="9859216" y="-1632400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23" name="Freeform: Shape 462">
              <a:extLst>
                <a:ext uri="{FF2B5EF4-FFF2-40B4-BE49-F238E27FC236}">
                  <a16:creationId xmlns:a16="http://schemas.microsoft.com/office/drawing/2014/main" id="{5EE8A799-5226-78DE-BBC9-B3674A091374}"/>
                </a:ext>
              </a:extLst>
            </p:cNvPr>
            <p:cNvSpPr/>
            <p:nvPr/>
          </p:nvSpPr>
          <p:spPr>
            <a:xfrm>
              <a:off x="9803209" y="-1598110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24" name="Freeform: Shape 463">
              <a:extLst>
                <a:ext uri="{FF2B5EF4-FFF2-40B4-BE49-F238E27FC236}">
                  <a16:creationId xmlns:a16="http://schemas.microsoft.com/office/drawing/2014/main" id="{5F811254-8B51-AC92-0404-9A633CF30186}"/>
                </a:ext>
              </a:extLst>
            </p:cNvPr>
            <p:cNvSpPr/>
            <p:nvPr/>
          </p:nvSpPr>
          <p:spPr>
            <a:xfrm>
              <a:off x="9859216" y="-1632400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25" name="Freeform: Shape 464">
              <a:extLst>
                <a:ext uri="{FF2B5EF4-FFF2-40B4-BE49-F238E27FC236}">
                  <a16:creationId xmlns:a16="http://schemas.microsoft.com/office/drawing/2014/main" id="{BD83F7B4-2DF0-E114-32B0-BF413C76A346}"/>
                </a:ext>
              </a:extLst>
            </p:cNvPr>
            <p:cNvSpPr/>
            <p:nvPr/>
          </p:nvSpPr>
          <p:spPr>
            <a:xfrm>
              <a:off x="9803209" y="-1598110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26" name="Freeform: Shape 465">
              <a:extLst>
                <a:ext uri="{FF2B5EF4-FFF2-40B4-BE49-F238E27FC236}">
                  <a16:creationId xmlns:a16="http://schemas.microsoft.com/office/drawing/2014/main" id="{92522E6F-D6D9-E9B4-FAC3-37828AFCFCD4}"/>
                </a:ext>
              </a:extLst>
            </p:cNvPr>
            <p:cNvSpPr/>
            <p:nvPr/>
          </p:nvSpPr>
          <p:spPr>
            <a:xfrm>
              <a:off x="9859216" y="-1632400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27" name="Freeform: Shape 466">
              <a:extLst>
                <a:ext uri="{FF2B5EF4-FFF2-40B4-BE49-F238E27FC236}">
                  <a16:creationId xmlns:a16="http://schemas.microsoft.com/office/drawing/2014/main" id="{32B075CC-4C47-2B36-761C-42F6457A61E9}"/>
                </a:ext>
              </a:extLst>
            </p:cNvPr>
            <p:cNvSpPr/>
            <p:nvPr/>
          </p:nvSpPr>
          <p:spPr>
            <a:xfrm>
              <a:off x="9820354" y="-1598110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28" name="Freeform: Shape 467">
              <a:extLst>
                <a:ext uri="{FF2B5EF4-FFF2-40B4-BE49-F238E27FC236}">
                  <a16:creationId xmlns:a16="http://schemas.microsoft.com/office/drawing/2014/main" id="{6E2FE1DF-FA01-1CD1-A5EE-65C2C8D1A657}"/>
                </a:ext>
              </a:extLst>
            </p:cNvPr>
            <p:cNvSpPr/>
            <p:nvPr/>
          </p:nvSpPr>
          <p:spPr>
            <a:xfrm>
              <a:off x="9876361" y="-1632400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29" name="Freeform: Shape 468">
              <a:extLst>
                <a:ext uri="{FF2B5EF4-FFF2-40B4-BE49-F238E27FC236}">
                  <a16:creationId xmlns:a16="http://schemas.microsoft.com/office/drawing/2014/main" id="{DBC259A6-7AD0-1DE0-7EEE-055282FCB88A}"/>
                </a:ext>
              </a:extLst>
            </p:cNvPr>
            <p:cNvSpPr/>
            <p:nvPr/>
          </p:nvSpPr>
          <p:spPr>
            <a:xfrm>
              <a:off x="9832927" y="-1598110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30" name="Freeform: Shape 469">
              <a:extLst>
                <a:ext uri="{FF2B5EF4-FFF2-40B4-BE49-F238E27FC236}">
                  <a16:creationId xmlns:a16="http://schemas.microsoft.com/office/drawing/2014/main" id="{D9B60020-C545-DE36-B5B8-29BDC20378FF}"/>
                </a:ext>
              </a:extLst>
            </p:cNvPr>
            <p:cNvSpPr/>
            <p:nvPr/>
          </p:nvSpPr>
          <p:spPr>
            <a:xfrm>
              <a:off x="9888934" y="-1632400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31" name="Freeform: Shape 470">
              <a:extLst>
                <a:ext uri="{FF2B5EF4-FFF2-40B4-BE49-F238E27FC236}">
                  <a16:creationId xmlns:a16="http://schemas.microsoft.com/office/drawing/2014/main" id="{BE7ECC67-5529-4888-E832-C2E722399CB2}"/>
                </a:ext>
              </a:extLst>
            </p:cNvPr>
            <p:cNvSpPr/>
            <p:nvPr/>
          </p:nvSpPr>
          <p:spPr>
            <a:xfrm>
              <a:off x="9891220" y="-157296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32" name="Freeform: Shape 471">
              <a:extLst>
                <a:ext uri="{FF2B5EF4-FFF2-40B4-BE49-F238E27FC236}">
                  <a16:creationId xmlns:a16="http://schemas.microsoft.com/office/drawing/2014/main" id="{A4411C32-8D1A-4851-398D-0C645F0513D7}"/>
                </a:ext>
              </a:extLst>
            </p:cNvPr>
            <p:cNvSpPr/>
            <p:nvPr/>
          </p:nvSpPr>
          <p:spPr>
            <a:xfrm>
              <a:off x="9947227" y="-160839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33" name="Freeform: Shape 472">
              <a:extLst>
                <a:ext uri="{FF2B5EF4-FFF2-40B4-BE49-F238E27FC236}">
                  <a16:creationId xmlns:a16="http://schemas.microsoft.com/office/drawing/2014/main" id="{F472FE35-6F57-FB5D-3EC8-130B182EADD0}"/>
                </a:ext>
              </a:extLst>
            </p:cNvPr>
            <p:cNvSpPr/>
            <p:nvPr/>
          </p:nvSpPr>
          <p:spPr>
            <a:xfrm>
              <a:off x="9909508" y="-157296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34" name="Freeform: Shape 473">
              <a:extLst>
                <a:ext uri="{FF2B5EF4-FFF2-40B4-BE49-F238E27FC236}">
                  <a16:creationId xmlns:a16="http://schemas.microsoft.com/office/drawing/2014/main" id="{A4228377-11CE-1DBC-0E8F-0A9AFDF3F674}"/>
                </a:ext>
              </a:extLst>
            </p:cNvPr>
            <p:cNvSpPr/>
            <p:nvPr/>
          </p:nvSpPr>
          <p:spPr>
            <a:xfrm>
              <a:off x="9965515" y="-160839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35" name="Freeform: Shape 474">
              <a:extLst>
                <a:ext uri="{FF2B5EF4-FFF2-40B4-BE49-F238E27FC236}">
                  <a16:creationId xmlns:a16="http://schemas.microsoft.com/office/drawing/2014/main" id="{CE04FA4D-7386-F004-4160-B10021D99C4D}"/>
                </a:ext>
              </a:extLst>
            </p:cNvPr>
            <p:cNvSpPr/>
            <p:nvPr/>
          </p:nvSpPr>
          <p:spPr>
            <a:xfrm>
              <a:off x="9909508" y="-157296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36" name="Freeform: Shape 475">
              <a:extLst>
                <a:ext uri="{FF2B5EF4-FFF2-40B4-BE49-F238E27FC236}">
                  <a16:creationId xmlns:a16="http://schemas.microsoft.com/office/drawing/2014/main" id="{8A66D9BC-FEDC-672F-9EAB-9F90D07C150F}"/>
                </a:ext>
              </a:extLst>
            </p:cNvPr>
            <p:cNvSpPr/>
            <p:nvPr/>
          </p:nvSpPr>
          <p:spPr>
            <a:xfrm>
              <a:off x="9965515" y="-160839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37" name="Freeform: Shape 476">
              <a:extLst>
                <a:ext uri="{FF2B5EF4-FFF2-40B4-BE49-F238E27FC236}">
                  <a16:creationId xmlns:a16="http://schemas.microsoft.com/office/drawing/2014/main" id="{3604A9D2-8EF8-07B6-9A87-D1A61F340CBA}"/>
                </a:ext>
              </a:extLst>
            </p:cNvPr>
            <p:cNvSpPr/>
            <p:nvPr/>
          </p:nvSpPr>
          <p:spPr>
            <a:xfrm>
              <a:off x="9915223" y="-157296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38" name="Freeform: Shape 477">
              <a:extLst>
                <a:ext uri="{FF2B5EF4-FFF2-40B4-BE49-F238E27FC236}">
                  <a16:creationId xmlns:a16="http://schemas.microsoft.com/office/drawing/2014/main" id="{564A448F-A263-8F25-AFAF-0879B8025524}"/>
                </a:ext>
              </a:extLst>
            </p:cNvPr>
            <p:cNvSpPr/>
            <p:nvPr/>
          </p:nvSpPr>
          <p:spPr>
            <a:xfrm>
              <a:off x="9971230" y="-160839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39" name="Freeform: Shape 478">
              <a:extLst>
                <a:ext uri="{FF2B5EF4-FFF2-40B4-BE49-F238E27FC236}">
                  <a16:creationId xmlns:a16="http://schemas.microsoft.com/office/drawing/2014/main" id="{A1EECE62-65B4-081F-C09A-8C18397840D0}"/>
                </a:ext>
              </a:extLst>
            </p:cNvPr>
            <p:cNvSpPr/>
            <p:nvPr/>
          </p:nvSpPr>
          <p:spPr>
            <a:xfrm>
              <a:off x="9920938" y="-157296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40" name="Freeform: Shape 479">
              <a:extLst>
                <a:ext uri="{FF2B5EF4-FFF2-40B4-BE49-F238E27FC236}">
                  <a16:creationId xmlns:a16="http://schemas.microsoft.com/office/drawing/2014/main" id="{29318668-673F-B076-A428-3EC5BA3E52A2}"/>
                </a:ext>
              </a:extLst>
            </p:cNvPr>
            <p:cNvSpPr/>
            <p:nvPr/>
          </p:nvSpPr>
          <p:spPr>
            <a:xfrm>
              <a:off x="9976945" y="-160839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41" name="Freeform: Shape 480">
              <a:extLst>
                <a:ext uri="{FF2B5EF4-FFF2-40B4-BE49-F238E27FC236}">
                  <a16:creationId xmlns:a16="http://schemas.microsoft.com/office/drawing/2014/main" id="{215E0CD6-B282-0107-D532-B85CA3EC65C3}"/>
                </a:ext>
              </a:extLst>
            </p:cNvPr>
            <p:cNvSpPr/>
            <p:nvPr/>
          </p:nvSpPr>
          <p:spPr>
            <a:xfrm>
              <a:off x="9920938" y="-157296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42" name="Freeform: Shape 481">
              <a:extLst>
                <a:ext uri="{FF2B5EF4-FFF2-40B4-BE49-F238E27FC236}">
                  <a16:creationId xmlns:a16="http://schemas.microsoft.com/office/drawing/2014/main" id="{CC351AB8-AACE-5E07-8BC3-0517BEC208B4}"/>
                </a:ext>
              </a:extLst>
            </p:cNvPr>
            <p:cNvSpPr/>
            <p:nvPr/>
          </p:nvSpPr>
          <p:spPr>
            <a:xfrm>
              <a:off x="9976945" y="-160839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43" name="Freeform: Shape 482">
              <a:extLst>
                <a:ext uri="{FF2B5EF4-FFF2-40B4-BE49-F238E27FC236}">
                  <a16:creationId xmlns:a16="http://schemas.microsoft.com/office/drawing/2014/main" id="{0FCB509C-25C2-6C53-908E-BD69D2371664}"/>
                </a:ext>
              </a:extLst>
            </p:cNvPr>
            <p:cNvSpPr/>
            <p:nvPr/>
          </p:nvSpPr>
          <p:spPr>
            <a:xfrm>
              <a:off x="9920938" y="-157296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44" name="Freeform: Shape 483">
              <a:extLst>
                <a:ext uri="{FF2B5EF4-FFF2-40B4-BE49-F238E27FC236}">
                  <a16:creationId xmlns:a16="http://schemas.microsoft.com/office/drawing/2014/main" id="{E8E9362B-AA36-1FCD-9357-0B88A2F4E677}"/>
                </a:ext>
              </a:extLst>
            </p:cNvPr>
            <p:cNvSpPr/>
            <p:nvPr/>
          </p:nvSpPr>
          <p:spPr>
            <a:xfrm>
              <a:off x="9976945" y="-160839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45" name="Freeform: Shape 484">
              <a:extLst>
                <a:ext uri="{FF2B5EF4-FFF2-40B4-BE49-F238E27FC236}">
                  <a16:creationId xmlns:a16="http://schemas.microsoft.com/office/drawing/2014/main" id="{C6B2392C-1A72-22DB-6B1E-9C7A9BFB33A3}"/>
                </a:ext>
              </a:extLst>
            </p:cNvPr>
            <p:cNvSpPr/>
            <p:nvPr/>
          </p:nvSpPr>
          <p:spPr>
            <a:xfrm>
              <a:off x="9950656" y="-157296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46" name="Freeform: Shape 485">
              <a:extLst>
                <a:ext uri="{FF2B5EF4-FFF2-40B4-BE49-F238E27FC236}">
                  <a16:creationId xmlns:a16="http://schemas.microsoft.com/office/drawing/2014/main" id="{DF05DDFF-4A3C-FD9D-B639-C39A4B1D5B83}"/>
                </a:ext>
              </a:extLst>
            </p:cNvPr>
            <p:cNvSpPr/>
            <p:nvPr/>
          </p:nvSpPr>
          <p:spPr>
            <a:xfrm>
              <a:off x="10006663" y="-160839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47" name="Freeform: Shape 486">
              <a:extLst>
                <a:ext uri="{FF2B5EF4-FFF2-40B4-BE49-F238E27FC236}">
                  <a16:creationId xmlns:a16="http://schemas.microsoft.com/office/drawing/2014/main" id="{58026642-994A-EAEC-5420-6D96AFC3B489}"/>
                </a:ext>
              </a:extLst>
            </p:cNvPr>
            <p:cNvSpPr/>
            <p:nvPr/>
          </p:nvSpPr>
          <p:spPr>
            <a:xfrm>
              <a:off x="10032952" y="-154324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48" name="Freeform: Shape 487">
              <a:extLst>
                <a:ext uri="{FF2B5EF4-FFF2-40B4-BE49-F238E27FC236}">
                  <a16:creationId xmlns:a16="http://schemas.microsoft.com/office/drawing/2014/main" id="{3EA5643A-4DB0-5545-5A53-B2C62D387ACF}"/>
                </a:ext>
              </a:extLst>
            </p:cNvPr>
            <p:cNvSpPr/>
            <p:nvPr/>
          </p:nvSpPr>
          <p:spPr>
            <a:xfrm>
              <a:off x="10088959" y="-1577536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49" name="Freeform: Shape 488">
              <a:extLst>
                <a:ext uri="{FF2B5EF4-FFF2-40B4-BE49-F238E27FC236}">
                  <a16:creationId xmlns:a16="http://schemas.microsoft.com/office/drawing/2014/main" id="{EC3CE58D-EEA3-FF0E-6B6A-187BF9336EFA}"/>
                </a:ext>
              </a:extLst>
            </p:cNvPr>
            <p:cNvSpPr/>
            <p:nvPr/>
          </p:nvSpPr>
          <p:spPr>
            <a:xfrm>
              <a:off x="10039810" y="-1543246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50" name="Freeform: Shape 489">
              <a:extLst>
                <a:ext uri="{FF2B5EF4-FFF2-40B4-BE49-F238E27FC236}">
                  <a16:creationId xmlns:a16="http://schemas.microsoft.com/office/drawing/2014/main" id="{BEBDB69B-C884-35CC-D573-9F456B1EE251}"/>
                </a:ext>
              </a:extLst>
            </p:cNvPr>
            <p:cNvSpPr/>
            <p:nvPr/>
          </p:nvSpPr>
          <p:spPr>
            <a:xfrm>
              <a:off x="10095817" y="-1577536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51" name="Freeform: Shape 490">
              <a:extLst>
                <a:ext uri="{FF2B5EF4-FFF2-40B4-BE49-F238E27FC236}">
                  <a16:creationId xmlns:a16="http://schemas.microsoft.com/office/drawing/2014/main" id="{69D9C1E5-2D37-6701-155C-92910CFDC032}"/>
                </a:ext>
              </a:extLst>
            </p:cNvPr>
            <p:cNvSpPr/>
            <p:nvPr/>
          </p:nvSpPr>
          <p:spPr>
            <a:xfrm>
              <a:off x="10075243" y="-154324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52" name="Freeform: Shape 491">
              <a:extLst>
                <a:ext uri="{FF2B5EF4-FFF2-40B4-BE49-F238E27FC236}">
                  <a16:creationId xmlns:a16="http://schemas.microsoft.com/office/drawing/2014/main" id="{710EDF70-1F48-E392-B391-B408069FF38A}"/>
                </a:ext>
              </a:extLst>
            </p:cNvPr>
            <p:cNvSpPr/>
            <p:nvPr/>
          </p:nvSpPr>
          <p:spPr>
            <a:xfrm>
              <a:off x="10131250" y="-1577536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53" name="Freeform: Shape 492">
              <a:extLst>
                <a:ext uri="{FF2B5EF4-FFF2-40B4-BE49-F238E27FC236}">
                  <a16:creationId xmlns:a16="http://schemas.microsoft.com/office/drawing/2014/main" id="{D02CAAA6-5C82-3E99-906C-498147FBF9F6}"/>
                </a:ext>
              </a:extLst>
            </p:cNvPr>
            <p:cNvSpPr/>
            <p:nvPr/>
          </p:nvSpPr>
          <p:spPr>
            <a:xfrm>
              <a:off x="10151824" y="-154324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54" name="Freeform: Shape 493">
              <a:extLst>
                <a:ext uri="{FF2B5EF4-FFF2-40B4-BE49-F238E27FC236}">
                  <a16:creationId xmlns:a16="http://schemas.microsoft.com/office/drawing/2014/main" id="{04AB2621-98C1-A22C-0435-5BD5721B466E}"/>
                </a:ext>
              </a:extLst>
            </p:cNvPr>
            <p:cNvSpPr/>
            <p:nvPr/>
          </p:nvSpPr>
          <p:spPr>
            <a:xfrm>
              <a:off x="10207831" y="-1577536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55" name="Freeform: Shape 494">
              <a:extLst>
                <a:ext uri="{FF2B5EF4-FFF2-40B4-BE49-F238E27FC236}">
                  <a16:creationId xmlns:a16="http://schemas.microsoft.com/office/drawing/2014/main" id="{99E6A96A-4DB9-39A2-A54B-7E0A38E5A134}"/>
                </a:ext>
              </a:extLst>
            </p:cNvPr>
            <p:cNvSpPr/>
            <p:nvPr/>
          </p:nvSpPr>
          <p:spPr>
            <a:xfrm>
              <a:off x="10157539" y="-154324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56" name="Freeform: Shape 495">
              <a:extLst>
                <a:ext uri="{FF2B5EF4-FFF2-40B4-BE49-F238E27FC236}">
                  <a16:creationId xmlns:a16="http://schemas.microsoft.com/office/drawing/2014/main" id="{3FABD66F-10B6-7F0A-E25B-0601C03B8759}"/>
                </a:ext>
              </a:extLst>
            </p:cNvPr>
            <p:cNvSpPr/>
            <p:nvPr/>
          </p:nvSpPr>
          <p:spPr>
            <a:xfrm>
              <a:off x="10213546" y="-1577536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57" name="Freeform: Shape 496">
              <a:extLst>
                <a:ext uri="{FF2B5EF4-FFF2-40B4-BE49-F238E27FC236}">
                  <a16:creationId xmlns:a16="http://schemas.microsoft.com/office/drawing/2014/main" id="{A1F68228-D193-579A-5F5D-C5B58BCEEC6B}"/>
                </a:ext>
              </a:extLst>
            </p:cNvPr>
            <p:cNvSpPr/>
            <p:nvPr/>
          </p:nvSpPr>
          <p:spPr>
            <a:xfrm>
              <a:off x="10157539" y="-154324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58" name="Freeform: Shape 497">
              <a:extLst>
                <a:ext uri="{FF2B5EF4-FFF2-40B4-BE49-F238E27FC236}">
                  <a16:creationId xmlns:a16="http://schemas.microsoft.com/office/drawing/2014/main" id="{E524F570-E0EC-17A8-48EE-0810BEF4F13F}"/>
                </a:ext>
              </a:extLst>
            </p:cNvPr>
            <p:cNvSpPr/>
            <p:nvPr/>
          </p:nvSpPr>
          <p:spPr>
            <a:xfrm>
              <a:off x="10213546" y="-1577536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59" name="Freeform: Shape 498">
              <a:extLst>
                <a:ext uri="{FF2B5EF4-FFF2-40B4-BE49-F238E27FC236}">
                  <a16:creationId xmlns:a16="http://schemas.microsoft.com/office/drawing/2014/main" id="{BDAE35FF-7830-228D-DBC1-CAC7DB65CA66}"/>
                </a:ext>
              </a:extLst>
            </p:cNvPr>
            <p:cNvSpPr/>
            <p:nvPr/>
          </p:nvSpPr>
          <p:spPr>
            <a:xfrm>
              <a:off x="10181542" y="-1543246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60" name="Freeform: Shape 499">
              <a:extLst>
                <a:ext uri="{FF2B5EF4-FFF2-40B4-BE49-F238E27FC236}">
                  <a16:creationId xmlns:a16="http://schemas.microsoft.com/office/drawing/2014/main" id="{492959E5-C3B1-EE6B-B3DD-EC509D435EEC}"/>
                </a:ext>
              </a:extLst>
            </p:cNvPr>
            <p:cNvSpPr/>
            <p:nvPr/>
          </p:nvSpPr>
          <p:spPr>
            <a:xfrm>
              <a:off x="10237549" y="-1577536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61" name="Freeform: Shape 500">
              <a:extLst>
                <a:ext uri="{FF2B5EF4-FFF2-40B4-BE49-F238E27FC236}">
                  <a16:creationId xmlns:a16="http://schemas.microsoft.com/office/drawing/2014/main" id="{8D311432-F36B-FC79-2F63-886212860CBB}"/>
                </a:ext>
              </a:extLst>
            </p:cNvPr>
            <p:cNvSpPr/>
            <p:nvPr/>
          </p:nvSpPr>
          <p:spPr>
            <a:xfrm>
              <a:off x="10187257" y="-154324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62" name="Freeform: Shape 501">
              <a:extLst>
                <a:ext uri="{FF2B5EF4-FFF2-40B4-BE49-F238E27FC236}">
                  <a16:creationId xmlns:a16="http://schemas.microsoft.com/office/drawing/2014/main" id="{96A6A49D-F88A-52D3-0E54-4B84ABCCDF51}"/>
                </a:ext>
              </a:extLst>
            </p:cNvPr>
            <p:cNvSpPr/>
            <p:nvPr/>
          </p:nvSpPr>
          <p:spPr>
            <a:xfrm>
              <a:off x="10243264" y="-1577536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63" name="Freeform: Shape 502">
              <a:extLst>
                <a:ext uri="{FF2B5EF4-FFF2-40B4-BE49-F238E27FC236}">
                  <a16:creationId xmlns:a16="http://schemas.microsoft.com/office/drawing/2014/main" id="{FCE9C825-CDEB-F3B4-9E9A-79FB5E694199}"/>
                </a:ext>
              </a:extLst>
            </p:cNvPr>
            <p:cNvSpPr/>
            <p:nvPr/>
          </p:nvSpPr>
          <p:spPr>
            <a:xfrm>
              <a:off x="10293556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64" name="Freeform: Shape 503">
              <a:extLst>
                <a:ext uri="{FF2B5EF4-FFF2-40B4-BE49-F238E27FC236}">
                  <a16:creationId xmlns:a16="http://schemas.microsoft.com/office/drawing/2014/main" id="{AD45E4D1-24F6-5EDE-3909-0CD720AC09DD}"/>
                </a:ext>
              </a:extLst>
            </p:cNvPr>
            <p:cNvSpPr/>
            <p:nvPr/>
          </p:nvSpPr>
          <p:spPr>
            <a:xfrm>
              <a:off x="10349563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65" name="Freeform: Shape 504">
              <a:extLst>
                <a:ext uri="{FF2B5EF4-FFF2-40B4-BE49-F238E27FC236}">
                  <a16:creationId xmlns:a16="http://schemas.microsoft.com/office/drawing/2014/main" id="{18A3910F-AC9A-4886-D51D-6AE1D305536D}"/>
                </a:ext>
              </a:extLst>
            </p:cNvPr>
            <p:cNvSpPr/>
            <p:nvPr/>
          </p:nvSpPr>
          <p:spPr>
            <a:xfrm>
              <a:off x="10299271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66" name="Freeform: Shape 505">
              <a:extLst>
                <a:ext uri="{FF2B5EF4-FFF2-40B4-BE49-F238E27FC236}">
                  <a16:creationId xmlns:a16="http://schemas.microsoft.com/office/drawing/2014/main" id="{3D140338-6774-D9EA-CA84-70F496593906}"/>
                </a:ext>
              </a:extLst>
            </p:cNvPr>
            <p:cNvSpPr/>
            <p:nvPr/>
          </p:nvSpPr>
          <p:spPr>
            <a:xfrm>
              <a:off x="10355278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67" name="Freeform: Shape 506">
              <a:extLst>
                <a:ext uri="{FF2B5EF4-FFF2-40B4-BE49-F238E27FC236}">
                  <a16:creationId xmlns:a16="http://schemas.microsoft.com/office/drawing/2014/main" id="{7D793428-AA53-DFFA-CFB9-A608C8ABEA42}"/>
                </a:ext>
              </a:extLst>
            </p:cNvPr>
            <p:cNvSpPr/>
            <p:nvPr/>
          </p:nvSpPr>
          <p:spPr>
            <a:xfrm>
              <a:off x="10304986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68" name="Freeform: Shape 507">
              <a:extLst>
                <a:ext uri="{FF2B5EF4-FFF2-40B4-BE49-F238E27FC236}">
                  <a16:creationId xmlns:a16="http://schemas.microsoft.com/office/drawing/2014/main" id="{1BC70416-86A3-A613-DB8D-E7A9C598803F}"/>
                </a:ext>
              </a:extLst>
            </p:cNvPr>
            <p:cNvSpPr/>
            <p:nvPr/>
          </p:nvSpPr>
          <p:spPr>
            <a:xfrm>
              <a:off x="10360993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69" name="Freeform: Shape 508">
              <a:extLst>
                <a:ext uri="{FF2B5EF4-FFF2-40B4-BE49-F238E27FC236}">
                  <a16:creationId xmlns:a16="http://schemas.microsoft.com/office/drawing/2014/main" id="{022F95A6-5C29-7911-6E97-AC887F3671E4}"/>
                </a:ext>
              </a:extLst>
            </p:cNvPr>
            <p:cNvSpPr/>
            <p:nvPr/>
          </p:nvSpPr>
          <p:spPr>
            <a:xfrm>
              <a:off x="10328989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70" name="Freeform: Shape 509">
              <a:extLst>
                <a:ext uri="{FF2B5EF4-FFF2-40B4-BE49-F238E27FC236}">
                  <a16:creationId xmlns:a16="http://schemas.microsoft.com/office/drawing/2014/main" id="{DEA8F4D6-BE87-DAB7-73FB-5B3839DF34EA}"/>
                </a:ext>
              </a:extLst>
            </p:cNvPr>
            <p:cNvSpPr/>
            <p:nvPr/>
          </p:nvSpPr>
          <p:spPr>
            <a:xfrm>
              <a:off x="10384996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71" name="Freeform: Shape 510">
              <a:extLst>
                <a:ext uri="{FF2B5EF4-FFF2-40B4-BE49-F238E27FC236}">
                  <a16:creationId xmlns:a16="http://schemas.microsoft.com/office/drawing/2014/main" id="{D3E67C10-521E-66B1-85B1-DB744D9CD057}"/>
                </a:ext>
              </a:extLst>
            </p:cNvPr>
            <p:cNvSpPr/>
            <p:nvPr/>
          </p:nvSpPr>
          <p:spPr>
            <a:xfrm>
              <a:off x="10375852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72" name="Freeform: Shape 511">
              <a:extLst>
                <a:ext uri="{FF2B5EF4-FFF2-40B4-BE49-F238E27FC236}">
                  <a16:creationId xmlns:a16="http://schemas.microsoft.com/office/drawing/2014/main" id="{B1CFA8E1-DCB1-26D9-8D6A-DB8258A9A48F}"/>
                </a:ext>
              </a:extLst>
            </p:cNvPr>
            <p:cNvSpPr/>
            <p:nvPr/>
          </p:nvSpPr>
          <p:spPr>
            <a:xfrm>
              <a:off x="10431859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73" name="Freeform: Shape 512">
              <a:extLst>
                <a:ext uri="{FF2B5EF4-FFF2-40B4-BE49-F238E27FC236}">
                  <a16:creationId xmlns:a16="http://schemas.microsoft.com/office/drawing/2014/main" id="{B305F136-C3F5-5550-0E3D-2E5982918150}"/>
                </a:ext>
              </a:extLst>
            </p:cNvPr>
            <p:cNvSpPr/>
            <p:nvPr/>
          </p:nvSpPr>
          <p:spPr>
            <a:xfrm>
              <a:off x="10381567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74" name="Freeform: Shape 513">
              <a:extLst>
                <a:ext uri="{FF2B5EF4-FFF2-40B4-BE49-F238E27FC236}">
                  <a16:creationId xmlns:a16="http://schemas.microsoft.com/office/drawing/2014/main" id="{5C76D1A0-7EB2-5672-D2DF-151359431714}"/>
                </a:ext>
              </a:extLst>
            </p:cNvPr>
            <p:cNvSpPr/>
            <p:nvPr/>
          </p:nvSpPr>
          <p:spPr>
            <a:xfrm>
              <a:off x="10437574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75" name="Freeform: Shape 514">
              <a:extLst>
                <a:ext uri="{FF2B5EF4-FFF2-40B4-BE49-F238E27FC236}">
                  <a16:creationId xmlns:a16="http://schemas.microsoft.com/office/drawing/2014/main" id="{0620E0AE-02D1-AB06-6169-7802418A4AED}"/>
                </a:ext>
              </a:extLst>
            </p:cNvPr>
            <p:cNvSpPr/>
            <p:nvPr/>
          </p:nvSpPr>
          <p:spPr>
            <a:xfrm>
              <a:off x="10381567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76" name="Freeform: Shape 515">
              <a:extLst>
                <a:ext uri="{FF2B5EF4-FFF2-40B4-BE49-F238E27FC236}">
                  <a16:creationId xmlns:a16="http://schemas.microsoft.com/office/drawing/2014/main" id="{D511170F-346F-F19B-AC6C-685D40EB0C3A}"/>
                </a:ext>
              </a:extLst>
            </p:cNvPr>
            <p:cNvSpPr/>
            <p:nvPr/>
          </p:nvSpPr>
          <p:spPr>
            <a:xfrm>
              <a:off x="10437574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77" name="Freeform: Shape 516">
              <a:extLst>
                <a:ext uri="{FF2B5EF4-FFF2-40B4-BE49-F238E27FC236}">
                  <a16:creationId xmlns:a16="http://schemas.microsoft.com/office/drawing/2014/main" id="{BB8A08F9-E64A-32D2-2E70-C65387C57EBB}"/>
                </a:ext>
              </a:extLst>
            </p:cNvPr>
            <p:cNvSpPr/>
            <p:nvPr/>
          </p:nvSpPr>
          <p:spPr>
            <a:xfrm>
              <a:off x="10399855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78" name="Freeform: Shape 517">
              <a:extLst>
                <a:ext uri="{FF2B5EF4-FFF2-40B4-BE49-F238E27FC236}">
                  <a16:creationId xmlns:a16="http://schemas.microsoft.com/office/drawing/2014/main" id="{F8BAF934-2E9B-55F3-5A8B-C41201EC43E5}"/>
                </a:ext>
              </a:extLst>
            </p:cNvPr>
            <p:cNvSpPr/>
            <p:nvPr/>
          </p:nvSpPr>
          <p:spPr>
            <a:xfrm>
              <a:off x="10455862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79" name="Freeform: Shape 518">
              <a:extLst>
                <a:ext uri="{FF2B5EF4-FFF2-40B4-BE49-F238E27FC236}">
                  <a16:creationId xmlns:a16="http://schemas.microsoft.com/office/drawing/2014/main" id="{8920A44B-66E1-218A-0920-38CCB5985EBF}"/>
                </a:ext>
              </a:extLst>
            </p:cNvPr>
            <p:cNvSpPr/>
            <p:nvPr/>
          </p:nvSpPr>
          <p:spPr>
            <a:xfrm>
              <a:off x="10411285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80" name="Freeform: Shape 519">
              <a:extLst>
                <a:ext uri="{FF2B5EF4-FFF2-40B4-BE49-F238E27FC236}">
                  <a16:creationId xmlns:a16="http://schemas.microsoft.com/office/drawing/2014/main" id="{D42EDAC4-130B-8FED-AFD2-EEB9076E216A}"/>
                </a:ext>
              </a:extLst>
            </p:cNvPr>
            <p:cNvSpPr/>
            <p:nvPr/>
          </p:nvSpPr>
          <p:spPr>
            <a:xfrm>
              <a:off x="10467292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81" name="Freeform: Shape 520">
              <a:extLst>
                <a:ext uri="{FF2B5EF4-FFF2-40B4-BE49-F238E27FC236}">
                  <a16:creationId xmlns:a16="http://schemas.microsoft.com/office/drawing/2014/main" id="{9C8746E4-CFEF-469D-2AB2-30994782A074}"/>
                </a:ext>
              </a:extLst>
            </p:cNvPr>
            <p:cNvSpPr/>
            <p:nvPr/>
          </p:nvSpPr>
          <p:spPr>
            <a:xfrm>
              <a:off x="10435288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82" name="Freeform: Shape 521">
              <a:extLst>
                <a:ext uri="{FF2B5EF4-FFF2-40B4-BE49-F238E27FC236}">
                  <a16:creationId xmlns:a16="http://schemas.microsoft.com/office/drawing/2014/main" id="{221B50ED-B54E-6E4A-A1B0-E08C6E2D40B8}"/>
                </a:ext>
              </a:extLst>
            </p:cNvPr>
            <p:cNvSpPr/>
            <p:nvPr/>
          </p:nvSpPr>
          <p:spPr>
            <a:xfrm>
              <a:off x="10491295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83" name="Freeform: Shape 522">
              <a:extLst>
                <a:ext uri="{FF2B5EF4-FFF2-40B4-BE49-F238E27FC236}">
                  <a16:creationId xmlns:a16="http://schemas.microsoft.com/office/drawing/2014/main" id="{883AEFCB-23A8-D83B-5F2F-C4EFD4084AF1}"/>
                </a:ext>
              </a:extLst>
            </p:cNvPr>
            <p:cNvSpPr/>
            <p:nvPr/>
          </p:nvSpPr>
          <p:spPr>
            <a:xfrm>
              <a:off x="10535872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84" name="Freeform: Shape 523">
              <a:extLst>
                <a:ext uri="{FF2B5EF4-FFF2-40B4-BE49-F238E27FC236}">
                  <a16:creationId xmlns:a16="http://schemas.microsoft.com/office/drawing/2014/main" id="{8458CDB5-4187-D74D-97EE-DE9F60E32F6A}"/>
                </a:ext>
              </a:extLst>
            </p:cNvPr>
            <p:cNvSpPr/>
            <p:nvPr/>
          </p:nvSpPr>
          <p:spPr>
            <a:xfrm>
              <a:off x="10591879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85" name="Freeform: Shape 524">
              <a:extLst>
                <a:ext uri="{FF2B5EF4-FFF2-40B4-BE49-F238E27FC236}">
                  <a16:creationId xmlns:a16="http://schemas.microsoft.com/office/drawing/2014/main" id="{640EA83D-E5B4-0CA6-E591-AF07793247B9}"/>
                </a:ext>
              </a:extLst>
            </p:cNvPr>
            <p:cNvSpPr/>
            <p:nvPr/>
          </p:nvSpPr>
          <p:spPr>
            <a:xfrm>
              <a:off x="10541587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86" name="Freeform: Shape 525">
              <a:extLst>
                <a:ext uri="{FF2B5EF4-FFF2-40B4-BE49-F238E27FC236}">
                  <a16:creationId xmlns:a16="http://schemas.microsoft.com/office/drawing/2014/main" id="{9D4ECE25-457F-003C-EE04-4620E8BACA1B}"/>
                </a:ext>
              </a:extLst>
            </p:cNvPr>
            <p:cNvSpPr/>
            <p:nvPr/>
          </p:nvSpPr>
          <p:spPr>
            <a:xfrm>
              <a:off x="10597594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87" name="Freeform: Shape 526">
              <a:extLst>
                <a:ext uri="{FF2B5EF4-FFF2-40B4-BE49-F238E27FC236}">
                  <a16:creationId xmlns:a16="http://schemas.microsoft.com/office/drawing/2014/main" id="{4F1BCED6-EE31-DB32-A669-203E7699D61E}"/>
                </a:ext>
              </a:extLst>
            </p:cNvPr>
            <p:cNvSpPr/>
            <p:nvPr/>
          </p:nvSpPr>
          <p:spPr>
            <a:xfrm>
              <a:off x="10547302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88" name="Freeform: Shape 527">
              <a:extLst>
                <a:ext uri="{FF2B5EF4-FFF2-40B4-BE49-F238E27FC236}">
                  <a16:creationId xmlns:a16="http://schemas.microsoft.com/office/drawing/2014/main" id="{7C512511-33D0-825F-5D16-3E2C29D55015}"/>
                </a:ext>
              </a:extLst>
            </p:cNvPr>
            <p:cNvSpPr/>
            <p:nvPr/>
          </p:nvSpPr>
          <p:spPr>
            <a:xfrm>
              <a:off x="10603309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89" name="Freeform: Shape 528">
              <a:extLst>
                <a:ext uri="{FF2B5EF4-FFF2-40B4-BE49-F238E27FC236}">
                  <a16:creationId xmlns:a16="http://schemas.microsoft.com/office/drawing/2014/main" id="{F728A6F3-EA0B-26E4-4E4C-42DB01D0CEB6}"/>
                </a:ext>
              </a:extLst>
            </p:cNvPr>
            <p:cNvSpPr/>
            <p:nvPr/>
          </p:nvSpPr>
          <p:spPr>
            <a:xfrm>
              <a:off x="10765615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90" name="Freeform: Shape 529">
              <a:extLst>
                <a:ext uri="{FF2B5EF4-FFF2-40B4-BE49-F238E27FC236}">
                  <a16:creationId xmlns:a16="http://schemas.microsoft.com/office/drawing/2014/main" id="{AC8ED453-96B9-DA70-25F8-56AF0512428A}"/>
                </a:ext>
              </a:extLst>
            </p:cNvPr>
            <p:cNvSpPr/>
            <p:nvPr/>
          </p:nvSpPr>
          <p:spPr>
            <a:xfrm>
              <a:off x="10821622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91" name="Freeform: Shape 530">
              <a:extLst>
                <a:ext uri="{FF2B5EF4-FFF2-40B4-BE49-F238E27FC236}">
                  <a16:creationId xmlns:a16="http://schemas.microsoft.com/office/drawing/2014/main" id="{121B9969-0CDF-AD81-8152-F150E217D29A}"/>
                </a:ext>
              </a:extLst>
            </p:cNvPr>
            <p:cNvSpPr/>
            <p:nvPr/>
          </p:nvSpPr>
          <p:spPr>
            <a:xfrm>
              <a:off x="10777045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92" name="Freeform: Shape 531">
              <a:extLst>
                <a:ext uri="{FF2B5EF4-FFF2-40B4-BE49-F238E27FC236}">
                  <a16:creationId xmlns:a16="http://schemas.microsoft.com/office/drawing/2014/main" id="{E07E8D3C-F850-09C2-D55D-F72AF20A31E0}"/>
                </a:ext>
              </a:extLst>
            </p:cNvPr>
            <p:cNvSpPr/>
            <p:nvPr/>
          </p:nvSpPr>
          <p:spPr>
            <a:xfrm>
              <a:off x="10833052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93" name="Freeform: Shape 532">
              <a:extLst>
                <a:ext uri="{FF2B5EF4-FFF2-40B4-BE49-F238E27FC236}">
                  <a16:creationId xmlns:a16="http://schemas.microsoft.com/office/drawing/2014/main" id="{29CABE96-D9DC-44BA-BE06-B5DE72E85EDA}"/>
                </a:ext>
              </a:extLst>
            </p:cNvPr>
            <p:cNvSpPr/>
            <p:nvPr/>
          </p:nvSpPr>
          <p:spPr>
            <a:xfrm>
              <a:off x="10783903" y="-1502098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94" name="Freeform: Shape 533">
              <a:extLst>
                <a:ext uri="{FF2B5EF4-FFF2-40B4-BE49-F238E27FC236}">
                  <a16:creationId xmlns:a16="http://schemas.microsoft.com/office/drawing/2014/main" id="{502799F4-4937-7417-8CA3-7ED9D3E262E8}"/>
                </a:ext>
              </a:extLst>
            </p:cNvPr>
            <p:cNvSpPr/>
            <p:nvPr/>
          </p:nvSpPr>
          <p:spPr>
            <a:xfrm>
              <a:off x="10839910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95" name="Freeform: Shape 534">
              <a:extLst>
                <a:ext uri="{FF2B5EF4-FFF2-40B4-BE49-F238E27FC236}">
                  <a16:creationId xmlns:a16="http://schemas.microsoft.com/office/drawing/2014/main" id="{C08ABE23-BADC-9477-8F12-C8EB371198BC}"/>
                </a:ext>
              </a:extLst>
            </p:cNvPr>
            <p:cNvSpPr/>
            <p:nvPr/>
          </p:nvSpPr>
          <p:spPr>
            <a:xfrm>
              <a:off x="10795333" y="-150209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96" name="Freeform: Shape 535">
              <a:extLst>
                <a:ext uri="{FF2B5EF4-FFF2-40B4-BE49-F238E27FC236}">
                  <a16:creationId xmlns:a16="http://schemas.microsoft.com/office/drawing/2014/main" id="{A7E876EE-7E34-3184-68E1-83CFE22EE152}"/>
                </a:ext>
              </a:extLst>
            </p:cNvPr>
            <p:cNvSpPr/>
            <p:nvPr/>
          </p:nvSpPr>
          <p:spPr>
            <a:xfrm>
              <a:off x="10851340" y="-15375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97" name="Freeform: Shape 536">
              <a:extLst>
                <a:ext uri="{FF2B5EF4-FFF2-40B4-BE49-F238E27FC236}">
                  <a16:creationId xmlns:a16="http://schemas.microsoft.com/office/drawing/2014/main" id="{11758E3C-D943-129D-A664-8FBB29A93F39}"/>
                </a:ext>
              </a:extLst>
            </p:cNvPr>
            <p:cNvSpPr/>
            <p:nvPr/>
          </p:nvSpPr>
          <p:spPr>
            <a:xfrm>
              <a:off x="10989643" y="-136493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98" name="Freeform: Shape 537">
              <a:extLst>
                <a:ext uri="{FF2B5EF4-FFF2-40B4-BE49-F238E27FC236}">
                  <a16:creationId xmlns:a16="http://schemas.microsoft.com/office/drawing/2014/main" id="{8C9F10E8-DB6E-20D8-40CE-9B2F0E7F5A49}"/>
                </a:ext>
              </a:extLst>
            </p:cNvPr>
            <p:cNvSpPr/>
            <p:nvPr/>
          </p:nvSpPr>
          <p:spPr>
            <a:xfrm>
              <a:off x="11045650" y="-1400371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499" name="Freeform: Shape 538">
              <a:extLst>
                <a:ext uri="{FF2B5EF4-FFF2-40B4-BE49-F238E27FC236}">
                  <a16:creationId xmlns:a16="http://schemas.microsoft.com/office/drawing/2014/main" id="{436464BF-A6BA-1118-D527-DD0CE7F3E4F1}"/>
                </a:ext>
              </a:extLst>
            </p:cNvPr>
            <p:cNvSpPr/>
            <p:nvPr/>
          </p:nvSpPr>
          <p:spPr>
            <a:xfrm>
              <a:off x="11025076" y="-136493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00" name="Freeform: Shape 539">
              <a:extLst>
                <a:ext uri="{FF2B5EF4-FFF2-40B4-BE49-F238E27FC236}">
                  <a16:creationId xmlns:a16="http://schemas.microsoft.com/office/drawing/2014/main" id="{725C7C1F-9148-0151-CF88-C06AA144E801}"/>
                </a:ext>
              </a:extLst>
            </p:cNvPr>
            <p:cNvSpPr/>
            <p:nvPr/>
          </p:nvSpPr>
          <p:spPr>
            <a:xfrm>
              <a:off x="11081083" y="-1400371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01" name="Freeform: Shape 540">
              <a:extLst>
                <a:ext uri="{FF2B5EF4-FFF2-40B4-BE49-F238E27FC236}">
                  <a16:creationId xmlns:a16="http://schemas.microsoft.com/office/drawing/2014/main" id="{610A49CD-43AA-3731-C042-AE4679711DBB}"/>
                </a:ext>
              </a:extLst>
            </p:cNvPr>
            <p:cNvSpPr/>
            <p:nvPr/>
          </p:nvSpPr>
          <p:spPr>
            <a:xfrm>
              <a:off x="11149663" y="-136493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02" name="Freeform: Shape 541">
              <a:extLst>
                <a:ext uri="{FF2B5EF4-FFF2-40B4-BE49-F238E27FC236}">
                  <a16:creationId xmlns:a16="http://schemas.microsoft.com/office/drawing/2014/main" id="{B0B19940-5804-F0D3-ECFB-8F42B8A1F4FB}"/>
                </a:ext>
              </a:extLst>
            </p:cNvPr>
            <p:cNvSpPr/>
            <p:nvPr/>
          </p:nvSpPr>
          <p:spPr>
            <a:xfrm>
              <a:off x="11205670" y="-1400371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03" name="Freeform: Shape 542">
              <a:extLst>
                <a:ext uri="{FF2B5EF4-FFF2-40B4-BE49-F238E27FC236}">
                  <a16:creationId xmlns:a16="http://schemas.microsoft.com/office/drawing/2014/main" id="{BAE8A8D8-24EA-692D-35F6-3DDB8E38AC98}"/>
                </a:ext>
              </a:extLst>
            </p:cNvPr>
            <p:cNvSpPr/>
            <p:nvPr/>
          </p:nvSpPr>
          <p:spPr>
            <a:xfrm>
              <a:off x="11279965" y="-1364938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04" name="Freeform: Shape 543">
              <a:extLst>
                <a:ext uri="{FF2B5EF4-FFF2-40B4-BE49-F238E27FC236}">
                  <a16:creationId xmlns:a16="http://schemas.microsoft.com/office/drawing/2014/main" id="{E586C163-CEC3-EE69-AADF-42785950C75C}"/>
                </a:ext>
              </a:extLst>
            </p:cNvPr>
            <p:cNvSpPr/>
            <p:nvPr/>
          </p:nvSpPr>
          <p:spPr>
            <a:xfrm>
              <a:off x="11335972" y="-1400371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05" name="Freeform: Shape 544">
              <a:extLst>
                <a:ext uri="{FF2B5EF4-FFF2-40B4-BE49-F238E27FC236}">
                  <a16:creationId xmlns:a16="http://schemas.microsoft.com/office/drawing/2014/main" id="{51AEC1AD-2C73-3C7A-8C1A-E738223CF3DE}"/>
                </a:ext>
              </a:extLst>
            </p:cNvPr>
            <p:cNvSpPr/>
            <p:nvPr/>
          </p:nvSpPr>
          <p:spPr>
            <a:xfrm>
              <a:off x="11438842" y="-136493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06" name="Freeform: Shape 545">
              <a:extLst>
                <a:ext uri="{FF2B5EF4-FFF2-40B4-BE49-F238E27FC236}">
                  <a16:creationId xmlns:a16="http://schemas.microsoft.com/office/drawing/2014/main" id="{6379C2A8-A721-67F0-6619-D6321F94B4D6}"/>
                </a:ext>
              </a:extLst>
            </p:cNvPr>
            <p:cNvSpPr/>
            <p:nvPr/>
          </p:nvSpPr>
          <p:spPr>
            <a:xfrm>
              <a:off x="11494849" y="-1400371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07" name="Freeform: Shape 546">
              <a:extLst>
                <a:ext uri="{FF2B5EF4-FFF2-40B4-BE49-F238E27FC236}">
                  <a16:creationId xmlns:a16="http://schemas.microsoft.com/office/drawing/2014/main" id="{6398E4E4-929A-3372-6990-E92823684EDF}"/>
                </a:ext>
              </a:extLst>
            </p:cNvPr>
            <p:cNvSpPr/>
            <p:nvPr/>
          </p:nvSpPr>
          <p:spPr>
            <a:xfrm>
              <a:off x="11515423" y="-136493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08" name="Freeform: Shape 547">
              <a:extLst>
                <a:ext uri="{FF2B5EF4-FFF2-40B4-BE49-F238E27FC236}">
                  <a16:creationId xmlns:a16="http://schemas.microsoft.com/office/drawing/2014/main" id="{FFE56712-A04E-8337-06CB-1B70CBA1C35B}"/>
                </a:ext>
              </a:extLst>
            </p:cNvPr>
            <p:cNvSpPr/>
            <p:nvPr/>
          </p:nvSpPr>
          <p:spPr>
            <a:xfrm>
              <a:off x="11571430" y="-1400371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09" name="Freeform: Shape 548">
              <a:extLst>
                <a:ext uri="{FF2B5EF4-FFF2-40B4-BE49-F238E27FC236}">
                  <a16:creationId xmlns:a16="http://schemas.microsoft.com/office/drawing/2014/main" id="{ECD82DA7-7D51-F293-24DF-F1F303F5B650}"/>
                </a:ext>
              </a:extLst>
            </p:cNvPr>
            <p:cNvSpPr/>
            <p:nvPr/>
          </p:nvSpPr>
          <p:spPr>
            <a:xfrm>
              <a:off x="4378531" y="-2448502"/>
              <a:ext cx="7192899" cy="1083564"/>
            </a:xfrm>
            <a:custGeom>
              <a:avLst/>
              <a:gdLst>
                <a:gd name="connsiteX0" fmla="*/ 0 w 7192899"/>
                <a:gd name="connsiteY0" fmla="*/ 0 h 1083564"/>
                <a:gd name="connsiteX1" fmla="*/ 29623 w 7192899"/>
                <a:gd name="connsiteY1" fmla="*/ 0 h 1083564"/>
                <a:gd name="connsiteX2" fmla="*/ 29623 w 7192899"/>
                <a:gd name="connsiteY2" fmla="*/ 8001 h 1083564"/>
                <a:gd name="connsiteX3" fmla="*/ 53340 w 7192899"/>
                <a:gd name="connsiteY3" fmla="*/ 8001 h 1083564"/>
                <a:gd name="connsiteX4" fmla="*/ 53340 w 7192899"/>
                <a:gd name="connsiteY4" fmla="*/ 15907 h 1083564"/>
                <a:gd name="connsiteX5" fmla="*/ 130016 w 7192899"/>
                <a:gd name="connsiteY5" fmla="*/ 15907 h 1083564"/>
                <a:gd name="connsiteX6" fmla="*/ 130016 w 7192899"/>
                <a:gd name="connsiteY6" fmla="*/ 23908 h 1083564"/>
                <a:gd name="connsiteX7" fmla="*/ 135922 w 7192899"/>
                <a:gd name="connsiteY7" fmla="*/ 23908 h 1083564"/>
                <a:gd name="connsiteX8" fmla="*/ 135922 w 7192899"/>
                <a:gd name="connsiteY8" fmla="*/ 39815 h 1083564"/>
                <a:gd name="connsiteX9" fmla="*/ 177260 w 7192899"/>
                <a:gd name="connsiteY9" fmla="*/ 39815 h 1083564"/>
                <a:gd name="connsiteX10" fmla="*/ 177260 w 7192899"/>
                <a:gd name="connsiteY10" fmla="*/ 48006 h 1083564"/>
                <a:gd name="connsiteX11" fmla="*/ 200978 w 7192899"/>
                <a:gd name="connsiteY11" fmla="*/ 48006 h 1083564"/>
                <a:gd name="connsiteX12" fmla="*/ 200978 w 7192899"/>
                <a:gd name="connsiteY12" fmla="*/ 56007 h 1083564"/>
                <a:gd name="connsiteX13" fmla="*/ 212693 w 7192899"/>
                <a:gd name="connsiteY13" fmla="*/ 56007 h 1083564"/>
                <a:gd name="connsiteX14" fmla="*/ 212693 w 7192899"/>
                <a:gd name="connsiteY14" fmla="*/ 64103 h 1083564"/>
                <a:gd name="connsiteX15" fmla="*/ 218599 w 7192899"/>
                <a:gd name="connsiteY15" fmla="*/ 64103 h 1083564"/>
                <a:gd name="connsiteX16" fmla="*/ 218599 w 7192899"/>
                <a:gd name="connsiteY16" fmla="*/ 72200 h 1083564"/>
                <a:gd name="connsiteX17" fmla="*/ 254127 w 7192899"/>
                <a:gd name="connsiteY17" fmla="*/ 72200 h 1083564"/>
                <a:gd name="connsiteX18" fmla="*/ 254127 w 7192899"/>
                <a:gd name="connsiteY18" fmla="*/ 80296 h 1083564"/>
                <a:gd name="connsiteX19" fmla="*/ 277654 w 7192899"/>
                <a:gd name="connsiteY19" fmla="*/ 80296 h 1083564"/>
                <a:gd name="connsiteX20" fmla="*/ 277654 w 7192899"/>
                <a:gd name="connsiteY20" fmla="*/ 96679 h 1083564"/>
                <a:gd name="connsiteX21" fmla="*/ 289370 w 7192899"/>
                <a:gd name="connsiteY21" fmla="*/ 96679 h 1083564"/>
                <a:gd name="connsiteX22" fmla="*/ 289370 w 7192899"/>
                <a:gd name="connsiteY22" fmla="*/ 104680 h 1083564"/>
                <a:gd name="connsiteX23" fmla="*/ 360331 w 7192899"/>
                <a:gd name="connsiteY23" fmla="*/ 104680 h 1083564"/>
                <a:gd name="connsiteX24" fmla="*/ 360331 w 7192899"/>
                <a:gd name="connsiteY24" fmla="*/ 112871 h 1083564"/>
                <a:gd name="connsiteX25" fmla="*/ 466630 w 7192899"/>
                <a:gd name="connsiteY25" fmla="*/ 112871 h 1083564"/>
                <a:gd name="connsiteX26" fmla="*/ 466630 w 7192899"/>
                <a:gd name="connsiteY26" fmla="*/ 121253 h 1083564"/>
                <a:gd name="connsiteX27" fmla="*/ 519779 w 7192899"/>
                <a:gd name="connsiteY27" fmla="*/ 121253 h 1083564"/>
                <a:gd name="connsiteX28" fmla="*/ 519779 w 7192899"/>
                <a:gd name="connsiteY28" fmla="*/ 129730 h 1083564"/>
                <a:gd name="connsiteX29" fmla="*/ 531590 w 7192899"/>
                <a:gd name="connsiteY29" fmla="*/ 129730 h 1083564"/>
                <a:gd name="connsiteX30" fmla="*/ 531590 w 7192899"/>
                <a:gd name="connsiteY30" fmla="*/ 138017 h 1083564"/>
                <a:gd name="connsiteX31" fmla="*/ 549307 w 7192899"/>
                <a:gd name="connsiteY31" fmla="*/ 138017 h 1083564"/>
                <a:gd name="connsiteX32" fmla="*/ 549307 w 7192899"/>
                <a:gd name="connsiteY32" fmla="*/ 146495 h 1083564"/>
                <a:gd name="connsiteX33" fmla="*/ 596551 w 7192899"/>
                <a:gd name="connsiteY33" fmla="*/ 146495 h 1083564"/>
                <a:gd name="connsiteX34" fmla="*/ 596551 w 7192899"/>
                <a:gd name="connsiteY34" fmla="*/ 154877 h 1083564"/>
                <a:gd name="connsiteX35" fmla="*/ 626078 w 7192899"/>
                <a:gd name="connsiteY35" fmla="*/ 154877 h 1083564"/>
                <a:gd name="connsiteX36" fmla="*/ 626078 w 7192899"/>
                <a:gd name="connsiteY36" fmla="*/ 163259 h 1083564"/>
                <a:gd name="connsiteX37" fmla="*/ 673322 w 7192899"/>
                <a:gd name="connsiteY37" fmla="*/ 163259 h 1083564"/>
                <a:gd name="connsiteX38" fmla="*/ 673322 w 7192899"/>
                <a:gd name="connsiteY38" fmla="*/ 171736 h 1083564"/>
                <a:gd name="connsiteX39" fmla="*/ 785527 w 7192899"/>
                <a:gd name="connsiteY39" fmla="*/ 171736 h 1083564"/>
                <a:gd name="connsiteX40" fmla="*/ 785527 w 7192899"/>
                <a:gd name="connsiteY40" fmla="*/ 180213 h 1083564"/>
                <a:gd name="connsiteX41" fmla="*/ 797338 w 7192899"/>
                <a:gd name="connsiteY41" fmla="*/ 180213 h 1083564"/>
                <a:gd name="connsiteX42" fmla="*/ 797338 w 7192899"/>
                <a:gd name="connsiteY42" fmla="*/ 188881 h 1083564"/>
                <a:gd name="connsiteX43" fmla="*/ 844582 w 7192899"/>
                <a:gd name="connsiteY43" fmla="*/ 188881 h 1083564"/>
                <a:gd name="connsiteX44" fmla="*/ 844582 w 7192899"/>
                <a:gd name="connsiteY44" fmla="*/ 197358 h 1083564"/>
                <a:gd name="connsiteX45" fmla="*/ 874014 w 7192899"/>
                <a:gd name="connsiteY45" fmla="*/ 197358 h 1083564"/>
                <a:gd name="connsiteX46" fmla="*/ 874014 w 7192899"/>
                <a:gd name="connsiteY46" fmla="*/ 205835 h 1083564"/>
                <a:gd name="connsiteX47" fmla="*/ 909542 w 7192899"/>
                <a:gd name="connsiteY47" fmla="*/ 205835 h 1083564"/>
                <a:gd name="connsiteX48" fmla="*/ 909542 w 7192899"/>
                <a:gd name="connsiteY48" fmla="*/ 214408 h 1083564"/>
                <a:gd name="connsiteX49" fmla="*/ 927164 w 7192899"/>
                <a:gd name="connsiteY49" fmla="*/ 214408 h 1083564"/>
                <a:gd name="connsiteX50" fmla="*/ 927164 w 7192899"/>
                <a:gd name="connsiteY50" fmla="*/ 222885 h 1083564"/>
                <a:gd name="connsiteX51" fmla="*/ 1004126 w 7192899"/>
                <a:gd name="connsiteY51" fmla="*/ 222885 h 1083564"/>
                <a:gd name="connsiteX52" fmla="*/ 1004126 w 7192899"/>
                <a:gd name="connsiteY52" fmla="*/ 231553 h 1083564"/>
                <a:gd name="connsiteX53" fmla="*/ 1116235 w 7192899"/>
                <a:gd name="connsiteY53" fmla="*/ 231553 h 1083564"/>
                <a:gd name="connsiteX54" fmla="*/ 1116235 w 7192899"/>
                <a:gd name="connsiteY54" fmla="*/ 240316 h 1083564"/>
                <a:gd name="connsiteX55" fmla="*/ 1128046 w 7192899"/>
                <a:gd name="connsiteY55" fmla="*/ 240316 h 1083564"/>
                <a:gd name="connsiteX56" fmla="*/ 1128046 w 7192899"/>
                <a:gd name="connsiteY56" fmla="*/ 249174 h 1083564"/>
                <a:gd name="connsiteX57" fmla="*/ 1252061 w 7192899"/>
                <a:gd name="connsiteY57" fmla="*/ 249174 h 1083564"/>
                <a:gd name="connsiteX58" fmla="*/ 1252061 w 7192899"/>
                <a:gd name="connsiteY58" fmla="*/ 267176 h 1083564"/>
                <a:gd name="connsiteX59" fmla="*/ 1263777 w 7192899"/>
                <a:gd name="connsiteY59" fmla="*/ 267176 h 1083564"/>
                <a:gd name="connsiteX60" fmla="*/ 1263777 w 7192899"/>
                <a:gd name="connsiteY60" fmla="*/ 276130 h 1083564"/>
                <a:gd name="connsiteX61" fmla="*/ 1376077 w 7192899"/>
                <a:gd name="connsiteY61" fmla="*/ 276130 h 1083564"/>
                <a:gd name="connsiteX62" fmla="*/ 1376077 w 7192899"/>
                <a:gd name="connsiteY62" fmla="*/ 285274 h 1083564"/>
                <a:gd name="connsiteX63" fmla="*/ 1399699 w 7192899"/>
                <a:gd name="connsiteY63" fmla="*/ 285274 h 1083564"/>
                <a:gd name="connsiteX64" fmla="*/ 1399699 w 7192899"/>
                <a:gd name="connsiteY64" fmla="*/ 294418 h 1083564"/>
                <a:gd name="connsiteX65" fmla="*/ 1411415 w 7192899"/>
                <a:gd name="connsiteY65" fmla="*/ 294418 h 1083564"/>
                <a:gd name="connsiteX66" fmla="*/ 1411415 w 7192899"/>
                <a:gd name="connsiteY66" fmla="*/ 303657 h 1083564"/>
                <a:gd name="connsiteX67" fmla="*/ 1499997 w 7192899"/>
                <a:gd name="connsiteY67" fmla="*/ 303657 h 1083564"/>
                <a:gd name="connsiteX68" fmla="*/ 1499997 w 7192899"/>
                <a:gd name="connsiteY68" fmla="*/ 312801 h 1083564"/>
                <a:gd name="connsiteX69" fmla="*/ 1511808 w 7192899"/>
                <a:gd name="connsiteY69" fmla="*/ 312801 h 1083564"/>
                <a:gd name="connsiteX70" fmla="*/ 1511808 w 7192899"/>
                <a:gd name="connsiteY70" fmla="*/ 321945 h 1083564"/>
                <a:gd name="connsiteX71" fmla="*/ 1582674 w 7192899"/>
                <a:gd name="connsiteY71" fmla="*/ 321945 h 1083564"/>
                <a:gd name="connsiteX72" fmla="*/ 1582674 w 7192899"/>
                <a:gd name="connsiteY72" fmla="*/ 331184 h 1083564"/>
                <a:gd name="connsiteX73" fmla="*/ 1618202 w 7192899"/>
                <a:gd name="connsiteY73" fmla="*/ 331184 h 1083564"/>
                <a:gd name="connsiteX74" fmla="*/ 1618202 w 7192899"/>
                <a:gd name="connsiteY74" fmla="*/ 340424 h 1083564"/>
                <a:gd name="connsiteX75" fmla="*/ 1624108 w 7192899"/>
                <a:gd name="connsiteY75" fmla="*/ 340424 h 1083564"/>
                <a:gd name="connsiteX76" fmla="*/ 1624108 w 7192899"/>
                <a:gd name="connsiteY76" fmla="*/ 349663 h 1083564"/>
                <a:gd name="connsiteX77" fmla="*/ 1700784 w 7192899"/>
                <a:gd name="connsiteY77" fmla="*/ 349663 h 1083564"/>
                <a:gd name="connsiteX78" fmla="*/ 1700784 w 7192899"/>
                <a:gd name="connsiteY78" fmla="*/ 358997 h 1083564"/>
                <a:gd name="connsiteX79" fmla="*/ 1706690 w 7192899"/>
                <a:gd name="connsiteY79" fmla="*/ 358997 h 1083564"/>
                <a:gd name="connsiteX80" fmla="*/ 1706690 w 7192899"/>
                <a:gd name="connsiteY80" fmla="*/ 386810 h 1083564"/>
                <a:gd name="connsiteX81" fmla="*/ 1866233 w 7192899"/>
                <a:gd name="connsiteY81" fmla="*/ 386810 h 1083564"/>
                <a:gd name="connsiteX82" fmla="*/ 1866233 w 7192899"/>
                <a:gd name="connsiteY82" fmla="*/ 396240 h 1083564"/>
                <a:gd name="connsiteX83" fmla="*/ 2090642 w 7192899"/>
                <a:gd name="connsiteY83" fmla="*/ 396240 h 1083564"/>
                <a:gd name="connsiteX84" fmla="*/ 2090642 w 7192899"/>
                <a:gd name="connsiteY84" fmla="*/ 405860 h 1083564"/>
                <a:gd name="connsiteX85" fmla="*/ 2131886 w 7192899"/>
                <a:gd name="connsiteY85" fmla="*/ 405860 h 1083564"/>
                <a:gd name="connsiteX86" fmla="*/ 2131886 w 7192899"/>
                <a:gd name="connsiteY86" fmla="*/ 415481 h 1083564"/>
                <a:gd name="connsiteX87" fmla="*/ 2250091 w 7192899"/>
                <a:gd name="connsiteY87" fmla="*/ 415481 h 1083564"/>
                <a:gd name="connsiteX88" fmla="*/ 2250091 w 7192899"/>
                <a:gd name="connsiteY88" fmla="*/ 425291 h 1083564"/>
                <a:gd name="connsiteX89" fmla="*/ 2267807 w 7192899"/>
                <a:gd name="connsiteY89" fmla="*/ 425291 h 1083564"/>
                <a:gd name="connsiteX90" fmla="*/ 2267807 w 7192899"/>
                <a:gd name="connsiteY90" fmla="*/ 434912 h 1083564"/>
                <a:gd name="connsiteX91" fmla="*/ 2297144 w 7192899"/>
                <a:gd name="connsiteY91" fmla="*/ 434912 h 1083564"/>
                <a:gd name="connsiteX92" fmla="*/ 2297144 w 7192899"/>
                <a:gd name="connsiteY92" fmla="*/ 444722 h 1083564"/>
                <a:gd name="connsiteX93" fmla="*/ 2368106 w 7192899"/>
                <a:gd name="connsiteY93" fmla="*/ 444722 h 1083564"/>
                <a:gd name="connsiteX94" fmla="*/ 2368106 w 7192899"/>
                <a:gd name="connsiteY94" fmla="*/ 454438 h 1083564"/>
                <a:gd name="connsiteX95" fmla="*/ 2450783 w 7192899"/>
                <a:gd name="connsiteY95" fmla="*/ 454438 h 1083564"/>
                <a:gd name="connsiteX96" fmla="*/ 2450783 w 7192899"/>
                <a:gd name="connsiteY96" fmla="*/ 464344 h 1083564"/>
                <a:gd name="connsiteX97" fmla="*/ 2551271 w 7192899"/>
                <a:gd name="connsiteY97" fmla="*/ 464344 h 1083564"/>
                <a:gd name="connsiteX98" fmla="*/ 2551271 w 7192899"/>
                <a:gd name="connsiteY98" fmla="*/ 474155 h 1083564"/>
                <a:gd name="connsiteX99" fmla="*/ 2598420 w 7192899"/>
                <a:gd name="connsiteY99" fmla="*/ 474155 h 1083564"/>
                <a:gd name="connsiteX100" fmla="*/ 2598420 w 7192899"/>
                <a:gd name="connsiteY100" fmla="*/ 484060 h 1083564"/>
                <a:gd name="connsiteX101" fmla="*/ 2610231 w 7192899"/>
                <a:gd name="connsiteY101" fmla="*/ 484060 h 1083564"/>
                <a:gd name="connsiteX102" fmla="*/ 2610231 w 7192899"/>
                <a:gd name="connsiteY102" fmla="*/ 494062 h 1083564"/>
                <a:gd name="connsiteX103" fmla="*/ 2633853 w 7192899"/>
                <a:gd name="connsiteY103" fmla="*/ 494062 h 1083564"/>
                <a:gd name="connsiteX104" fmla="*/ 2633853 w 7192899"/>
                <a:gd name="connsiteY104" fmla="*/ 513874 h 1083564"/>
                <a:gd name="connsiteX105" fmla="*/ 2645759 w 7192899"/>
                <a:gd name="connsiteY105" fmla="*/ 513874 h 1083564"/>
                <a:gd name="connsiteX106" fmla="*/ 2645759 w 7192899"/>
                <a:gd name="connsiteY106" fmla="*/ 523685 h 1083564"/>
                <a:gd name="connsiteX107" fmla="*/ 2858262 w 7192899"/>
                <a:gd name="connsiteY107" fmla="*/ 523685 h 1083564"/>
                <a:gd name="connsiteX108" fmla="*/ 2858262 w 7192899"/>
                <a:gd name="connsiteY108" fmla="*/ 533686 h 1083564"/>
                <a:gd name="connsiteX109" fmla="*/ 2958751 w 7192899"/>
                <a:gd name="connsiteY109" fmla="*/ 533686 h 1083564"/>
                <a:gd name="connsiteX110" fmla="*/ 2958751 w 7192899"/>
                <a:gd name="connsiteY110" fmla="*/ 543878 h 1083564"/>
                <a:gd name="connsiteX111" fmla="*/ 3029522 w 7192899"/>
                <a:gd name="connsiteY111" fmla="*/ 543878 h 1083564"/>
                <a:gd name="connsiteX112" fmla="*/ 3029522 w 7192899"/>
                <a:gd name="connsiteY112" fmla="*/ 564452 h 1083564"/>
                <a:gd name="connsiteX113" fmla="*/ 3076671 w 7192899"/>
                <a:gd name="connsiteY113" fmla="*/ 564452 h 1083564"/>
                <a:gd name="connsiteX114" fmla="*/ 3076671 w 7192899"/>
                <a:gd name="connsiteY114" fmla="*/ 574739 h 1083564"/>
                <a:gd name="connsiteX115" fmla="*/ 3112199 w 7192899"/>
                <a:gd name="connsiteY115" fmla="*/ 574739 h 1083564"/>
                <a:gd name="connsiteX116" fmla="*/ 3112199 w 7192899"/>
                <a:gd name="connsiteY116" fmla="*/ 585026 h 1083564"/>
                <a:gd name="connsiteX117" fmla="*/ 3153632 w 7192899"/>
                <a:gd name="connsiteY117" fmla="*/ 585026 h 1083564"/>
                <a:gd name="connsiteX118" fmla="*/ 3153632 w 7192899"/>
                <a:gd name="connsiteY118" fmla="*/ 595313 h 1083564"/>
                <a:gd name="connsiteX119" fmla="*/ 3254026 w 7192899"/>
                <a:gd name="connsiteY119" fmla="*/ 595313 h 1083564"/>
                <a:gd name="connsiteX120" fmla="*/ 3254026 w 7192899"/>
                <a:gd name="connsiteY120" fmla="*/ 605600 h 1083564"/>
                <a:gd name="connsiteX121" fmla="*/ 3620167 w 7192899"/>
                <a:gd name="connsiteY121" fmla="*/ 605600 h 1083564"/>
                <a:gd name="connsiteX122" fmla="*/ 3620167 w 7192899"/>
                <a:gd name="connsiteY122" fmla="*/ 616077 h 1083564"/>
                <a:gd name="connsiteX123" fmla="*/ 3649694 w 7192899"/>
                <a:gd name="connsiteY123" fmla="*/ 616077 h 1083564"/>
                <a:gd name="connsiteX124" fmla="*/ 3649694 w 7192899"/>
                <a:gd name="connsiteY124" fmla="*/ 626650 h 1083564"/>
                <a:gd name="connsiteX125" fmla="*/ 3826859 w 7192899"/>
                <a:gd name="connsiteY125" fmla="*/ 626650 h 1083564"/>
                <a:gd name="connsiteX126" fmla="*/ 3826859 w 7192899"/>
                <a:gd name="connsiteY126" fmla="*/ 637127 h 1083564"/>
                <a:gd name="connsiteX127" fmla="*/ 3992213 w 7192899"/>
                <a:gd name="connsiteY127" fmla="*/ 637127 h 1083564"/>
                <a:gd name="connsiteX128" fmla="*/ 3992213 w 7192899"/>
                <a:gd name="connsiteY128" fmla="*/ 647795 h 1083564"/>
                <a:gd name="connsiteX129" fmla="*/ 4181094 w 7192899"/>
                <a:gd name="connsiteY129" fmla="*/ 647795 h 1083564"/>
                <a:gd name="connsiteX130" fmla="*/ 4181094 w 7192899"/>
                <a:gd name="connsiteY130" fmla="*/ 658559 h 1083564"/>
                <a:gd name="connsiteX131" fmla="*/ 4204811 w 7192899"/>
                <a:gd name="connsiteY131" fmla="*/ 658559 h 1083564"/>
                <a:gd name="connsiteX132" fmla="*/ 4204811 w 7192899"/>
                <a:gd name="connsiteY132" fmla="*/ 669227 h 1083564"/>
                <a:gd name="connsiteX133" fmla="*/ 4228243 w 7192899"/>
                <a:gd name="connsiteY133" fmla="*/ 669227 h 1083564"/>
                <a:gd name="connsiteX134" fmla="*/ 4228243 w 7192899"/>
                <a:gd name="connsiteY134" fmla="*/ 679895 h 1083564"/>
                <a:gd name="connsiteX135" fmla="*/ 4352354 w 7192899"/>
                <a:gd name="connsiteY135" fmla="*/ 679895 h 1083564"/>
                <a:gd name="connsiteX136" fmla="*/ 4352354 w 7192899"/>
                <a:gd name="connsiteY136" fmla="*/ 690658 h 1083564"/>
                <a:gd name="connsiteX137" fmla="*/ 4381881 w 7192899"/>
                <a:gd name="connsiteY137" fmla="*/ 690658 h 1083564"/>
                <a:gd name="connsiteX138" fmla="*/ 4381881 w 7192899"/>
                <a:gd name="connsiteY138" fmla="*/ 701326 h 1083564"/>
                <a:gd name="connsiteX139" fmla="*/ 4470368 w 7192899"/>
                <a:gd name="connsiteY139" fmla="*/ 701326 h 1083564"/>
                <a:gd name="connsiteX140" fmla="*/ 4470368 w 7192899"/>
                <a:gd name="connsiteY140" fmla="*/ 711994 h 1083564"/>
                <a:gd name="connsiteX141" fmla="*/ 4482275 w 7192899"/>
                <a:gd name="connsiteY141" fmla="*/ 711994 h 1083564"/>
                <a:gd name="connsiteX142" fmla="*/ 4482275 w 7192899"/>
                <a:gd name="connsiteY142" fmla="*/ 722757 h 1083564"/>
                <a:gd name="connsiteX143" fmla="*/ 4493991 w 7192899"/>
                <a:gd name="connsiteY143" fmla="*/ 722757 h 1083564"/>
                <a:gd name="connsiteX144" fmla="*/ 4493991 w 7192899"/>
                <a:gd name="connsiteY144" fmla="*/ 733520 h 1083564"/>
                <a:gd name="connsiteX145" fmla="*/ 4724400 w 7192899"/>
                <a:gd name="connsiteY145" fmla="*/ 733520 h 1083564"/>
                <a:gd name="connsiteX146" fmla="*/ 4724400 w 7192899"/>
                <a:gd name="connsiteY146" fmla="*/ 756095 h 1083564"/>
                <a:gd name="connsiteX147" fmla="*/ 4972431 w 7192899"/>
                <a:gd name="connsiteY147" fmla="*/ 756095 h 1083564"/>
                <a:gd name="connsiteX148" fmla="*/ 4972431 w 7192899"/>
                <a:gd name="connsiteY148" fmla="*/ 769811 h 1083564"/>
                <a:gd name="connsiteX149" fmla="*/ 5072825 w 7192899"/>
                <a:gd name="connsiteY149" fmla="*/ 769811 h 1083564"/>
                <a:gd name="connsiteX150" fmla="*/ 5072825 w 7192899"/>
                <a:gd name="connsiteY150" fmla="*/ 784098 h 1083564"/>
                <a:gd name="connsiteX151" fmla="*/ 5108163 w 7192899"/>
                <a:gd name="connsiteY151" fmla="*/ 784098 h 1083564"/>
                <a:gd name="connsiteX152" fmla="*/ 5108163 w 7192899"/>
                <a:gd name="connsiteY152" fmla="*/ 813816 h 1083564"/>
                <a:gd name="connsiteX153" fmla="*/ 5208747 w 7192899"/>
                <a:gd name="connsiteY153" fmla="*/ 813816 h 1083564"/>
                <a:gd name="connsiteX154" fmla="*/ 5208747 w 7192899"/>
                <a:gd name="connsiteY154" fmla="*/ 828770 h 1083564"/>
                <a:gd name="connsiteX155" fmla="*/ 5480304 w 7192899"/>
                <a:gd name="connsiteY155" fmla="*/ 828770 h 1083564"/>
                <a:gd name="connsiteX156" fmla="*/ 5480304 w 7192899"/>
                <a:gd name="connsiteY156" fmla="*/ 850392 h 1083564"/>
                <a:gd name="connsiteX157" fmla="*/ 5521643 w 7192899"/>
                <a:gd name="connsiteY157" fmla="*/ 850392 h 1083564"/>
                <a:gd name="connsiteX158" fmla="*/ 5521643 w 7192899"/>
                <a:gd name="connsiteY158" fmla="*/ 875062 h 1083564"/>
                <a:gd name="connsiteX159" fmla="*/ 5633847 w 7192899"/>
                <a:gd name="connsiteY159" fmla="*/ 875062 h 1083564"/>
                <a:gd name="connsiteX160" fmla="*/ 5633847 w 7192899"/>
                <a:gd name="connsiteY160" fmla="*/ 905542 h 1083564"/>
                <a:gd name="connsiteX161" fmla="*/ 5964555 w 7192899"/>
                <a:gd name="connsiteY161" fmla="*/ 905542 h 1083564"/>
                <a:gd name="connsiteX162" fmla="*/ 5964555 w 7192899"/>
                <a:gd name="connsiteY162" fmla="*/ 945737 h 1083564"/>
                <a:gd name="connsiteX163" fmla="*/ 6578728 w 7192899"/>
                <a:gd name="connsiteY163" fmla="*/ 945737 h 1083564"/>
                <a:gd name="connsiteX164" fmla="*/ 6578728 w 7192899"/>
                <a:gd name="connsiteY164" fmla="*/ 1083564 h 1083564"/>
                <a:gd name="connsiteX165" fmla="*/ 7192899 w 7192899"/>
                <a:gd name="connsiteY165" fmla="*/ 1083564 h 1083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</a:cxnLst>
              <a:rect l="l" t="t" r="r" b="b"/>
              <a:pathLst>
                <a:path w="7192899" h="1083564">
                  <a:moveTo>
                    <a:pt x="0" y="0"/>
                  </a:moveTo>
                  <a:lnTo>
                    <a:pt x="29623" y="0"/>
                  </a:lnTo>
                  <a:lnTo>
                    <a:pt x="29623" y="8001"/>
                  </a:lnTo>
                  <a:lnTo>
                    <a:pt x="53340" y="8001"/>
                  </a:lnTo>
                  <a:lnTo>
                    <a:pt x="53340" y="15907"/>
                  </a:lnTo>
                  <a:lnTo>
                    <a:pt x="130016" y="15907"/>
                  </a:lnTo>
                  <a:lnTo>
                    <a:pt x="130016" y="23908"/>
                  </a:lnTo>
                  <a:lnTo>
                    <a:pt x="135922" y="23908"/>
                  </a:lnTo>
                  <a:lnTo>
                    <a:pt x="135922" y="39815"/>
                  </a:lnTo>
                  <a:lnTo>
                    <a:pt x="177260" y="39815"/>
                  </a:lnTo>
                  <a:lnTo>
                    <a:pt x="177260" y="48006"/>
                  </a:lnTo>
                  <a:lnTo>
                    <a:pt x="200978" y="48006"/>
                  </a:lnTo>
                  <a:lnTo>
                    <a:pt x="200978" y="56007"/>
                  </a:lnTo>
                  <a:lnTo>
                    <a:pt x="212693" y="56007"/>
                  </a:lnTo>
                  <a:lnTo>
                    <a:pt x="212693" y="64103"/>
                  </a:lnTo>
                  <a:lnTo>
                    <a:pt x="218599" y="64103"/>
                  </a:lnTo>
                  <a:lnTo>
                    <a:pt x="218599" y="72200"/>
                  </a:lnTo>
                  <a:lnTo>
                    <a:pt x="254127" y="72200"/>
                  </a:lnTo>
                  <a:lnTo>
                    <a:pt x="254127" y="80296"/>
                  </a:lnTo>
                  <a:lnTo>
                    <a:pt x="277654" y="80296"/>
                  </a:lnTo>
                  <a:lnTo>
                    <a:pt x="277654" y="96679"/>
                  </a:lnTo>
                  <a:lnTo>
                    <a:pt x="289370" y="96679"/>
                  </a:lnTo>
                  <a:lnTo>
                    <a:pt x="289370" y="104680"/>
                  </a:lnTo>
                  <a:lnTo>
                    <a:pt x="360331" y="104680"/>
                  </a:lnTo>
                  <a:lnTo>
                    <a:pt x="360331" y="112871"/>
                  </a:lnTo>
                  <a:lnTo>
                    <a:pt x="466630" y="112871"/>
                  </a:lnTo>
                  <a:lnTo>
                    <a:pt x="466630" y="121253"/>
                  </a:lnTo>
                  <a:lnTo>
                    <a:pt x="519779" y="121253"/>
                  </a:lnTo>
                  <a:lnTo>
                    <a:pt x="519779" y="129730"/>
                  </a:lnTo>
                  <a:lnTo>
                    <a:pt x="531590" y="129730"/>
                  </a:lnTo>
                  <a:lnTo>
                    <a:pt x="531590" y="138017"/>
                  </a:lnTo>
                  <a:lnTo>
                    <a:pt x="549307" y="138017"/>
                  </a:lnTo>
                  <a:lnTo>
                    <a:pt x="549307" y="146495"/>
                  </a:lnTo>
                  <a:lnTo>
                    <a:pt x="596551" y="146495"/>
                  </a:lnTo>
                  <a:lnTo>
                    <a:pt x="596551" y="154877"/>
                  </a:lnTo>
                  <a:lnTo>
                    <a:pt x="626078" y="154877"/>
                  </a:lnTo>
                  <a:lnTo>
                    <a:pt x="626078" y="163259"/>
                  </a:lnTo>
                  <a:lnTo>
                    <a:pt x="673322" y="163259"/>
                  </a:lnTo>
                  <a:lnTo>
                    <a:pt x="673322" y="171736"/>
                  </a:lnTo>
                  <a:lnTo>
                    <a:pt x="785527" y="171736"/>
                  </a:lnTo>
                  <a:lnTo>
                    <a:pt x="785527" y="180213"/>
                  </a:lnTo>
                  <a:lnTo>
                    <a:pt x="797338" y="180213"/>
                  </a:lnTo>
                  <a:lnTo>
                    <a:pt x="797338" y="188881"/>
                  </a:lnTo>
                  <a:lnTo>
                    <a:pt x="844582" y="188881"/>
                  </a:lnTo>
                  <a:lnTo>
                    <a:pt x="844582" y="197358"/>
                  </a:lnTo>
                  <a:lnTo>
                    <a:pt x="874014" y="197358"/>
                  </a:lnTo>
                  <a:lnTo>
                    <a:pt x="874014" y="205835"/>
                  </a:lnTo>
                  <a:lnTo>
                    <a:pt x="909542" y="205835"/>
                  </a:lnTo>
                  <a:lnTo>
                    <a:pt x="909542" y="214408"/>
                  </a:lnTo>
                  <a:lnTo>
                    <a:pt x="927164" y="214408"/>
                  </a:lnTo>
                  <a:lnTo>
                    <a:pt x="927164" y="222885"/>
                  </a:lnTo>
                  <a:lnTo>
                    <a:pt x="1004126" y="222885"/>
                  </a:lnTo>
                  <a:lnTo>
                    <a:pt x="1004126" y="231553"/>
                  </a:lnTo>
                  <a:lnTo>
                    <a:pt x="1116235" y="231553"/>
                  </a:lnTo>
                  <a:lnTo>
                    <a:pt x="1116235" y="240316"/>
                  </a:lnTo>
                  <a:lnTo>
                    <a:pt x="1128046" y="240316"/>
                  </a:lnTo>
                  <a:lnTo>
                    <a:pt x="1128046" y="249174"/>
                  </a:lnTo>
                  <a:lnTo>
                    <a:pt x="1252061" y="249174"/>
                  </a:lnTo>
                  <a:lnTo>
                    <a:pt x="1252061" y="267176"/>
                  </a:lnTo>
                  <a:lnTo>
                    <a:pt x="1263777" y="267176"/>
                  </a:lnTo>
                  <a:lnTo>
                    <a:pt x="1263777" y="276130"/>
                  </a:lnTo>
                  <a:lnTo>
                    <a:pt x="1376077" y="276130"/>
                  </a:lnTo>
                  <a:lnTo>
                    <a:pt x="1376077" y="285274"/>
                  </a:lnTo>
                  <a:lnTo>
                    <a:pt x="1399699" y="285274"/>
                  </a:lnTo>
                  <a:lnTo>
                    <a:pt x="1399699" y="294418"/>
                  </a:lnTo>
                  <a:lnTo>
                    <a:pt x="1411415" y="294418"/>
                  </a:lnTo>
                  <a:lnTo>
                    <a:pt x="1411415" y="303657"/>
                  </a:lnTo>
                  <a:lnTo>
                    <a:pt x="1499997" y="303657"/>
                  </a:lnTo>
                  <a:lnTo>
                    <a:pt x="1499997" y="312801"/>
                  </a:lnTo>
                  <a:lnTo>
                    <a:pt x="1511808" y="312801"/>
                  </a:lnTo>
                  <a:lnTo>
                    <a:pt x="1511808" y="321945"/>
                  </a:lnTo>
                  <a:lnTo>
                    <a:pt x="1582674" y="321945"/>
                  </a:lnTo>
                  <a:lnTo>
                    <a:pt x="1582674" y="331184"/>
                  </a:lnTo>
                  <a:lnTo>
                    <a:pt x="1618202" y="331184"/>
                  </a:lnTo>
                  <a:lnTo>
                    <a:pt x="1618202" y="340424"/>
                  </a:lnTo>
                  <a:lnTo>
                    <a:pt x="1624108" y="340424"/>
                  </a:lnTo>
                  <a:lnTo>
                    <a:pt x="1624108" y="349663"/>
                  </a:lnTo>
                  <a:lnTo>
                    <a:pt x="1700784" y="349663"/>
                  </a:lnTo>
                  <a:lnTo>
                    <a:pt x="1700784" y="358997"/>
                  </a:lnTo>
                  <a:lnTo>
                    <a:pt x="1706690" y="358997"/>
                  </a:lnTo>
                  <a:lnTo>
                    <a:pt x="1706690" y="386810"/>
                  </a:lnTo>
                  <a:lnTo>
                    <a:pt x="1866233" y="386810"/>
                  </a:lnTo>
                  <a:lnTo>
                    <a:pt x="1866233" y="396240"/>
                  </a:lnTo>
                  <a:lnTo>
                    <a:pt x="2090642" y="396240"/>
                  </a:lnTo>
                  <a:lnTo>
                    <a:pt x="2090642" y="405860"/>
                  </a:lnTo>
                  <a:lnTo>
                    <a:pt x="2131886" y="405860"/>
                  </a:lnTo>
                  <a:lnTo>
                    <a:pt x="2131886" y="415481"/>
                  </a:lnTo>
                  <a:lnTo>
                    <a:pt x="2250091" y="415481"/>
                  </a:lnTo>
                  <a:lnTo>
                    <a:pt x="2250091" y="425291"/>
                  </a:lnTo>
                  <a:lnTo>
                    <a:pt x="2267807" y="425291"/>
                  </a:lnTo>
                  <a:lnTo>
                    <a:pt x="2267807" y="434912"/>
                  </a:lnTo>
                  <a:lnTo>
                    <a:pt x="2297144" y="434912"/>
                  </a:lnTo>
                  <a:lnTo>
                    <a:pt x="2297144" y="444722"/>
                  </a:lnTo>
                  <a:lnTo>
                    <a:pt x="2368106" y="444722"/>
                  </a:lnTo>
                  <a:lnTo>
                    <a:pt x="2368106" y="454438"/>
                  </a:lnTo>
                  <a:lnTo>
                    <a:pt x="2450783" y="454438"/>
                  </a:lnTo>
                  <a:lnTo>
                    <a:pt x="2450783" y="464344"/>
                  </a:lnTo>
                  <a:lnTo>
                    <a:pt x="2551271" y="464344"/>
                  </a:lnTo>
                  <a:lnTo>
                    <a:pt x="2551271" y="474155"/>
                  </a:lnTo>
                  <a:lnTo>
                    <a:pt x="2598420" y="474155"/>
                  </a:lnTo>
                  <a:lnTo>
                    <a:pt x="2598420" y="484060"/>
                  </a:lnTo>
                  <a:lnTo>
                    <a:pt x="2610231" y="484060"/>
                  </a:lnTo>
                  <a:lnTo>
                    <a:pt x="2610231" y="494062"/>
                  </a:lnTo>
                  <a:lnTo>
                    <a:pt x="2633853" y="494062"/>
                  </a:lnTo>
                  <a:lnTo>
                    <a:pt x="2633853" y="513874"/>
                  </a:lnTo>
                  <a:lnTo>
                    <a:pt x="2645759" y="513874"/>
                  </a:lnTo>
                  <a:lnTo>
                    <a:pt x="2645759" y="523685"/>
                  </a:lnTo>
                  <a:lnTo>
                    <a:pt x="2858262" y="523685"/>
                  </a:lnTo>
                  <a:lnTo>
                    <a:pt x="2858262" y="533686"/>
                  </a:lnTo>
                  <a:lnTo>
                    <a:pt x="2958751" y="533686"/>
                  </a:lnTo>
                  <a:lnTo>
                    <a:pt x="2958751" y="543878"/>
                  </a:lnTo>
                  <a:lnTo>
                    <a:pt x="3029522" y="543878"/>
                  </a:lnTo>
                  <a:lnTo>
                    <a:pt x="3029522" y="564452"/>
                  </a:lnTo>
                  <a:lnTo>
                    <a:pt x="3076671" y="564452"/>
                  </a:lnTo>
                  <a:lnTo>
                    <a:pt x="3076671" y="574739"/>
                  </a:lnTo>
                  <a:lnTo>
                    <a:pt x="3112199" y="574739"/>
                  </a:lnTo>
                  <a:lnTo>
                    <a:pt x="3112199" y="585026"/>
                  </a:lnTo>
                  <a:lnTo>
                    <a:pt x="3153632" y="585026"/>
                  </a:lnTo>
                  <a:lnTo>
                    <a:pt x="3153632" y="595313"/>
                  </a:lnTo>
                  <a:lnTo>
                    <a:pt x="3254026" y="595313"/>
                  </a:lnTo>
                  <a:lnTo>
                    <a:pt x="3254026" y="605600"/>
                  </a:lnTo>
                  <a:lnTo>
                    <a:pt x="3620167" y="605600"/>
                  </a:lnTo>
                  <a:lnTo>
                    <a:pt x="3620167" y="616077"/>
                  </a:lnTo>
                  <a:lnTo>
                    <a:pt x="3649694" y="616077"/>
                  </a:lnTo>
                  <a:lnTo>
                    <a:pt x="3649694" y="626650"/>
                  </a:lnTo>
                  <a:lnTo>
                    <a:pt x="3826859" y="626650"/>
                  </a:lnTo>
                  <a:lnTo>
                    <a:pt x="3826859" y="637127"/>
                  </a:lnTo>
                  <a:lnTo>
                    <a:pt x="3992213" y="637127"/>
                  </a:lnTo>
                  <a:lnTo>
                    <a:pt x="3992213" y="647795"/>
                  </a:lnTo>
                  <a:lnTo>
                    <a:pt x="4181094" y="647795"/>
                  </a:lnTo>
                  <a:lnTo>
                    <a:pt x="4181094" y="658559"/>
                  </a:lnTo>
                  <a:lnTo>
                    <a:pt x="4204811" y="658559"/>
                  </a:lnTo>
                  <a:lnTo>
                    <a:pt x="4204811" y="669227"/>
                  </a:lnTo>
                  <a:lnTo>
                    <a:pt x="4228243" y="669227"/>
                  </a:lnTo>
                  <a:lnTo>
                    <a:pt x="4228243" y="679895"/>
                  </a:lnTo>
                  <a:lnTo>
                    <a:pt x="4352354" y="679895"/>
                  </a:lnTo>
                  <a:lnTo>
                    <a:pt x="4352354" y="690658"/>
                  </a:lnTo>
                  <a:lnTo>
                    <a:pt x="4381881" y="690658"/>
                  </a:lnTo>
                  <a:lnTo>
                    <a:pt x="4381881" y="701326"/>
                  </a:lnTo>
                  <a:lnTo>
                    <a:pt x="4470368" y="701326"/>
                  </a:lnTo>
                  <a:lnTo>
                    <a:pt x="4470368" y="711994"/>
                  </a:lnTo>
                  <a:lnTo>
                    <a:pt x="4482275" y="711994"/>
                  </a:lnTo>
                  <a:lnTo>
                    <a:pt x="4482275" y="722757"/>
                  </a:lnTo>
                  <a:lnTo>
                    <a:pt x="4493991" y="722757"/>
                  </a:lnTo>
                  <a:lnTo>
                    <a:pt x="4493991" y="733520"/>
                  </a:lnTo>
                  <a:lnTo>
                    <a:pt x="4724400" y="733520"/>
                  </a:lnTo>
                  <a:lnTo>
                    <a:pt x="4724400" y="756095"/>
                  </a:lnTo>
                  <a:lnTo>
                    <a:pt x="4972431" y="756095"/>
                  </a:lnTo>
                  <a:lnTo>
                    <a:pt x="4972431" y="769811"/>
                  </a:lnTo>
                  <a:lnTo>
                    <a:pt x="5072825" y="769811"/>
                  </a:lnTo>
                  <a:lnTo>
                    <a:pt x="5072825" y="784098"/>
                  </a:lnTo>
                  <a:lnTo>
                    <a:pt x="5108163" y="784098"/>
                  </a:lnTo>
                  <a:lnTo>
                    <a:pt x="5108163" y="813816"/>
                  </a:lnTo>
                  <a:lnTo>
                    <a:pt x="5208747" y="813816"/>
                  </a:lnTo>
                  <a:lnTo>
                    <a:pt x="5208747" y="828770"/>
                  </a:lnTo>
                  <a:lnTo>
                    <a:pt x="5480304" y="828770"/>
                  </a:lnTo>
                  <a:lnTo>
                    <a:pt x="5480304" y="850392"/>
                  </a:lnTo>
                  <a:lnTo>
                    <a:pt x="5521643" y="850392"/>
                  </a:lnTo>
                  <a:lnTo>
                    <a:pt x="5521643" y="875062"/>
                  </a:lnTo>
                  <a:lnTo>
                    <a:pt x="5633847" y="875062"/>
                  </a:lnTo>
                  <a:lnTo>
                    <a:pt x="5633847" y="905542"/>
                  </a:lnTo>
                  <a:lnTo>
                    <a:pt x="5964555" y="905542"/>
                  </a:lnTo>
                  <a:lnTo>
                    <a:pt x="5964555" y="945737"/>
                  </a:lnTo>
                  <a:lnTo>
                    <a:pt x="6578728" y="945737"/>
                  </a:lnTo>
                  <a:lnTo>
                    <a:pt x="6578728" y="1083564"/>
                  </a:lnTo>
                  <a:lnTo>
                    <a:pt x="7192899" y="1083564"/>
                  </a:lnTo>
                </a:path>
              </a:pathLst>
            </a:custGeom>
            <a:noFill/>
            <a:ln w="19050" cap="sq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10" name="Freeform: Shape 549">
              <a:extLst>
                <a:ext uri="{FF2B5EF4-FFF2-40B4-BE49-F238E27FC236}">
                  <a16:creationId xmlns:a16="http://schemas.microsoft.com/office/drawing/2014/main" id="{FF2C0F80-291A-FDD1-0316-5FF15520CD1F}"/>
                </a:ext>
              </a:extLst>
            </p:cNvPr>
            <p:cNvSpPr/>
            <p:nvPr/>
          </p:nvSpPr>
          <p:spPr>
            <a:xfrm>
              <a:off x="4378531" y="-2448502"/>
              <a:ext cx="7133463" cy="1552193"/>
            </a:xfrm>
            <a:custGeom>
              <a:avLst/>
              <a:gdLst>
                <a:gd name="connsiteX0" fmla="*/ 0 w 7133463"/>
                <a:gd name="connsiteY0" fmla="*/ 0 h 1552193"/>
                <a:gd name="connsiteX1" fmla="*/ 17812 w 7133463"/>
                <a:gd name="connsiteY1" fmla="*/ 0 h 1552193"/>
                <a:gd name="connsiteX2" fmla="*/ 17812 w 7133463"/>
                <a:gd name="connsiteY2" fmla="*/ 8001 h 1552193"/>
                <a:gd name="connsiteX3" fmla="*/ 130016 w 7133463"/>
                <a:gd name="connsiteY3" fmla="*/ 8001 h 1552193"/>
                <a:gd name="connsiteX4" fmla="*/ 130016 w 7133463"/>
                <a:gd name="connsiteY4" fmla="*/ 23908 h 1552193"/>
                <a:gd name="connsiteX5" fmla="*/ 135922 w 7133463"/>
                <a:gd name="connsiteY5" fmla="*/ 23908 h 1552193"/>
                <a:gd name="connsiteX6" fmla="*/ 135922 w 7133463"/>
                <a:gd name="connsiteY6" fmla="*/ 47816 h 1552193"/>
                <a:gd name="connsiteX7" fmla="*/ 141732 w 7133463"/>
                <a:gd name="connsiteY7" fmla="*/ 47816 h 1552193"/>
                <a:gd name="connsiteX8" fmla="*/ 141732 w 7133463"/>
                <a:gd name="connsiteY8" fmla="*/ 55817 h 1552193"/>
                <a:gd name="connsiteX9" fmla="*/ 147733 w 7133463"/>
                <a:gd name="connsiteY9" fmla="*/ 55817 h 1552193"/>
                <a:gd name="connsiteX10" fmla="*/ 147733 w 7133463"/>
                <a:gd name="connsiteY10" fmla="*/ 63722 h 1552193"/>
                <a:gd name="connsiteX11" fmla="*/ 153638 w 7133463"/>
                <a:gd name="connsiteY11" fmla="*/ 63722 h 1552193"/>
                <a:gd name="connsiteX12" fmla="*/ 153638 w 7133463"/>
                <a:gd name="connsiteY12" fmla="*/ 71819 h 1552193"/>
                <a:gd name="connsiteX13" fmla="*/ 218599 w 7133463"/>
                <a:gd name="connsiteY13" fmla="*/ 71819 h 1552193"/>
                <a:gd name="connsiteX14" fmla="*/ 218599 w 7133463"/>
                <a:gd name="connsiteY14" fmla="*/ 79820 h 1552193"/>
                <a:gd name="connsiteX15" fmla="*/ 224600 w 7133463"/>
                <a:gd name="connsiteY15" fmla="*/ 79820 h 1552193"/>
                <a:gd name="connsiteX16" fmla="*/ 224600 w 7133463"/>
                <a:gd name="connsiteY16" fmla="*/ 87821 h 1552193"/>
                <a:gd name="connsiteX17" fmla="*/ 230315 w 7133463"/>
                <a:gd name="connsiteY17" fmla="*/ 87821 h 1552193"/>
                <a:gd name="connsiteX18" fmla="*/ 230315 w 7133463"/>
                <a:gd name="connsiteY18" fmla="*/ 103727 h 1552193"/>
                <a:gd name="connsiteX19" fmla="*/ 242126 w 7133463"/>
                <a:gd name="connsiteY19" fmla="*/ 103727 h 1552193"/>
                <a:gd name="connsiteX20" fmla="*/ 242126 w 7133463"/>
                <a:gd name="connsiteY20" fmla="*/ 119729 h 1552193"/>
                <a:gd name="connsiteX21" fmla="*/ 254032 w 7133463"/>
                <a:gd name="connsiteY21" fmla="*/ 119729 h 1552193"/>
                <a:gd name="connsiteX22" fmla="*/ 254032 w 7133463"/>
                <a:gd name="connsiteY22" fmla="*/ 135731 h 1552193"/>
                <a:gd name="connsiteX23" fmla="*/ 259842 w 7133463"/>
                <a:gd name="connsiteY23" fmla="*/ 135731 h 1552193"/>
                <a:gd name="connsiteX24" fmla="*/ 259842 w 7133463"/>
                <a:gd name="connsiteY24" fmla="*/ 143732 h 1552193"/>
                <a:gd name="connsiteX25" fmla="*/ 271748 w 7133463"/>
                <a:gd name="connsiteY25" fmla="*/ 143732 h 1552193"/>
                <a:gd name="connsiteX26" fmla="*/ 271748 w 7133463"/>
                <a:gd name="connsiteY26" fmla="*/ 151829 h 1552193"/>
                <a:gd name="connsiteX27" fmla="*/ 301276 w 7133463"/>
                <a:gd name="connsiteY27" fmla="*/ 151829 h 1552193"/>
                <a:gd name="connsiteX28" fmla="*/ 301276 w 7133463"/>
                <a:gd name="connsiteY28" fmla="*/ 159830 h 1552193"/>
                <a:gd name="connsiteX29" fmla="*/ 307181 w 7133463"/>
                <a:gd name="connsiteY29" fmla="*/ 159830 h 1552193"/>
                <a:gd name="connsiteX30" fmla="*/ 307181 w 7133463"/>
                <a:gd name="connsiteY30" fmla="*/ 168021 h 1552193"/>
                <a:gd name="connsiteX31" fmla="*/ 342519 w 7133463"/>
                <a:gd name="connsiteY31" fmla="*/ 168021 h 1552193"/>
                <a:gd name="connsiteX32" fmla="*/ 342519 w 7133463"/>
                <a:gd name="connsiteY32" fmla="*/ 176117 h 1552193"/>
                <a:gd name="connsiteX33" fmla="*/ 377952 w 7133463"/>
                <a:gd name="connsiteY33" fmla="*/ 176117 h 1552193"/>
                <a:gd name="connsiteX34" fmla="*/ 377952 w 7133463"/>
                <a:gd name="connsiteY34" fmla="*/ 184118 h 1552193"/>
                <a:gd name="connsiteX35" fmla="*/ 395764 w 7133463"/>
                <a:gd name="connsiteY35" fmla="*/ 184118 h 1552193"/>
                <a:gd name="connsiteX36" fmla="*/ 395764 w 7133463"/>
                <a:gd name="connsiteY36" fmla="*/ 192310 h 1552193"/>
                <a:gd name="connsiteX37" fmla="*/ 437007 w 7133463"/>
                <a:gd name="connsiteY37" fmla="*/ 192310 h 1552193"/>
                <a:gd name="connsiteX38" fmla="*/ 437007 w 7133463"/>
                <a:gd name="connsiteY38" fmla="*/ 200406 h 1552193"/>
                <a:gd name="connsiteX39" fmla="*/ 502063 w 7133463"/>
                <a:gd name="connsiteY39" fmla="*/ 200406 h 1552193"/>
                <a:gd name="connsiteX40" fmla="*/ 502063 w 7133463"/>
                <a:gd name="connsiteY40" fmla="*/ 216789 h 1552193"/>
                <a:gd name="connsiteX41" fmla="*/ 507968 w 7133463"/>
                <a:gd name="connsiteY41" fmla="*/ 216789 h 1552193"/>
                <a:gd name="connsiteX42" fmla="*/ 507968 w 7133463"/>
                <a:gd name="connsiteY42" fmla="*/ 224981 h 1552193"/>
                <a:gd name="connsiteX43" fmla="*/ 519684 w 7133463"/>
                <a:gd name="connsiteY43" fmla="*/ 224981 h 1552193"/>
                <a:gd name="connsiteX44" fmla="*/ 519684 w 7133463"/>
                <a:gd name="connsiteY44" fmla="*/ 233267 h 1552193"/>
                <a:gd name="connsiteX45" fmla="*/ 543401 w 7133463"/>
                <a:gd name="connsiteY45" fmla="*/ 233267 h 1552193"/>
                <a:gd name="connsiteX46" fmla="*/ 543401 w 7133463"/>
                <a:gd name="connsiteY46" fmla="*/ 241364 h 1552193"/>
                <a:gd name="connsiteX47" fmla="*/ 590645 w 7133463"/>
                <a:gd name="connsiteY47" fmla="*/ 241364 h 1552193"/>
                <a:gd name="connsiteX48" fmla="*/ 590645 w 7133463"/>
                <a:gd name="connsiteY48" fmla="*/ 249650 h 1552193"/>
                <a:gd name="connsiteX49" fmla="*/ 637889 w 7133463"/>
                <a:gd name="connsiteY49" fmla="*/ 249650 h 1552193"/>
                <a:gd name="connsiteX50" fmla="*/ 637889 w 7133463"/>
                <a:gd name="connsiteY50" fmla="*/ 258032 h 1552193"/>
                <a:gd name="connsiteX51" fmla="*/ 643795 w 7133463"/>
                <a:gd name="connsiteY51" fmla="*/ 258032 h 1552193"/>
                <a:gd name="connsiteX52" fmla="*/ 643795 w 7133463"/>
                <a:gd name="connsiteY52" fmla="*/ 274510 h 1552193"/>
                <a:gd name="connsiteX53" fmla="*/ 649700 w 7133463"/>
                <a:gd name="connsiteY53" fmla="*/ 274510 h 1552193"/>
                <a:gd name="connsiteX54" fmla="*/ 649700 w 7133463"/>
                <a:gd name="connsiteY54" fmla="*/ 282893 h 1552193"/>
                <a:gd name="connsiteX55" fmla="*/ 655606 w 7133463"/>
                <a:gd name="connsiteY55" fmla="*/ 282893 h 1552193"/>
                <a:gd name="connsiteX56" fmla="*/ 655606 w 7133463"/>
                <a:gd name="connsiteY56" fmla="*/ 291179 h 1552193"/>
                <a:gd name="connsiteX57" fmla="*/ 714661 w 7133463"/>
                <a:gd name="connsiteY57" fmla="*/ 291179 h 1552193"/>
                <a:gd name="connsiteX58" fmla="*/ 714661 w 7133463"/>
                <a:gd name="connsiteY58" fmla="*/ 299466 h 1552193"/>
                <a:gd name="connsiteX59" fmla="*/ 732282 w 7133463"/>
                <a:gd name="connsiteY59" fmla="*/ 299466 h 1552193"/>
                <a:gd name="connsiteX60" fmla="*/ 732282 w 7133463"/>
                <a:gd name="connsiteY60" fmla="*/ 307848 h 1552193"/>
                <a:gd name="connsiteX61" fmla="*/ 749999 w 7133463"/>
                <a:gd name="connsiteY61" fmla="*/ 307848 h 1552193"/>
                <a:gd name="connsiteX62" fmla="*/ 749999 w 7133463"/>
                <a:gd name="connsiteY62" fmla="*/ 324422 h 1552193"/>
                <a:gd name="connsiteX63" fmla="*/ 755904 w 7133463"/>
                <a:gd name="connsiteY63" fmla="*/ 324422 h 1552193"/>
                <a:gd name="connsiteX64" fmla="*/ 755904 w 7133463"/>
                <a:gd name="connsiteY64" fmla="*/ 332708 h 1552193"/>
                <a:gd name="connsiteX65" fmla="*/ 767810 w 7133463"/>
                <a:gd name="connsiteY65" fmla="*/ 332708 h 1552193"/>
                <a:gd name="connsiteX66" fmla="*/ 767810 w 7133463"/>
                <a:gd name="connsiteY66" fmla="*/ 340995 h 1552193"/>
                <a:gd name="connsiteX67" fmla="*/ 809149 w 7133463"/>
                <a:gd name="connsiteY67" fmla="*/ 340995 h 1552193"/>
                <a:gd name="connsiteX68" fmla="*/ 809149 w 7133463"/>
                <a:gd name="connsiteY68" fmla="*/ 349472 h 1552193"/>
                <a:gd name="connsiteX69" fmla="*/ 826770 w 7133463"/>
                <a:gd name="connsiteY69" fmla="*/ 349472 h 1552193"/>
                <a:gd name="connsiteX70" fmla="*/ 826770 w 7133463"/>
                <a:gd name="connsiteY70" fmla="*/ 357759 h 1552193"/>
                <a:gd name="connsiteX71" fmla="*/ 862298 w 7133463"/>
                <a:gd name="connsiteY71" fmla="*/ 357759 h 1552193"/>
                <a:gd name="connsiteX72" fmla="*/ 862298 w 7133463"/>
                <a:gd name="connsiteY72" fmla="*/ 366046 h 1552193"/>
                <a:gd name="connsiteX73" fmla="*/ 874014 w 7133463"/>
                <a:gd name="connsiteY73" fmla="*/ 366046 h 1552193"/>
                <a:gd name="connsiteX74" fmla="*/ 874014 w 7133463"/>
                <a:gd name="connsiteY74" fmla="*/ 374428 h 1552193"/>
                <a:gd name="connsiteX75" fmla="*/ 897636 w 7133463"/>
                <a:gd name="connsiteY75" fmla="*/ 374428 h 1552193"/>
                <a:gd name="connsiteX76" fmla="*/ 897636 w 7133463"/>
                <a:gd name="connsiteY76" fmla="*/ 382810 h 1552193"/>
                <a:gd name="connsiteX77" fmla="*/ 909542 w 7133463"/>
                <a:gd name="connsiteY77" fmla="*/ 382810 h 1552193"/>
                <a:gd name="connsiteX78" fmla="*/ 909542 w 7133463"/>
                <a:gd name="connsiteY78" fmla="*/ 391097 h 1552193"/>
                <a:gd name="connsiteX79" fmla="*/ 944975 w 7133463"/>
                <a:gd name="connsiteY79" fmla="*/ 391097 h 1552193"/>
                <a:gd name="connsiteX80" fmla="*/ 944975 w 7133463"/>
                <a:gd name="connsiteY80" fmla="*/ 399479 h 1552193"/>
                <a:gd name="connsiteX81" fmla="*/ 950690 w 7133463"/>
                <a:gd name="connsiteY81" fmla="*/ 399479 h 1552193"/>
                <a:gd name="connsiteX82" fmla="*/ 950690 w 7133463"/>
                <a:gd name="connsiteY82" fmla="*/ 407860 h 1552193"/>
                <a:gd name="connsiteX83" fmla="*/ 980313 w 7133463"/>
                <a:gd name="connsiteY83" fmla="*/ 407860 h 1552193"/>
                <a:gd name="connsiteX84" fmla="*/ 980313 w 7133463"/>
                <a:gd name="connsiteY84" fmla="*/ 416147 h 1552193"/>
                <a:gd name="connsiteX85" fmla="*/ 998030 w 7133463"/>
                <a:gd name="connsiteY85" fmla="*/ 416147 h 1552193"/>
                <a:gd name="connsiteX86" fmla="*/ 998030 w 7133463"/>
                <a:gd name="connsiteY86" fmla="*/ 424625 h 1552193"/>
                <a:gd name="connsiteX87" fmla="*/ 1015746 w 7133463"/>
                <a:gd name="connsiteY87" fmla="*/ 424625 h 1552193"/>
                <a:gd name="connsiteX88" fmla="*/ 1015746 w 7133463"/>
                <a:gd name="connsiteY88" fmla="*/ 432911 h 1552193"/>
                <a:gd name="connsiteX89" fmla="*/ 1086707 w 7133463"/>
                <a:gd name="connsiteY89" fmla="*/ 432911 h 1552193"/>
                <a:gd name="connsiteX90" fmla="*/ 1086707 w 7133463"/>
                <a:gd name="connsiteY90" fmla="*/ 441389 h 1552193"/>
                <a:gd name="connsiteX91" fmla="*/ 1104424 w 7133463"/>
                <a:gd name="connsiteY91" fmla="*/ 441389 h 1552193"/>
                <a:gd name="connsiteX92" fmla="*/ 1104424 w 7133463"/>
                <a:gd name="connsiteY92" fmla="*/ 449771 h 1552193"/>
                <a:gd name="connsiteX93" fmla="*/ 1121950 w 7133463"/>
                <a:gd name="connsiteY93" fmla="*/ 449771 h 1552193"/>
                <a:gd name="connsiteX94" fmla="*/ 1121950 w 7133463"/>
                <a:gd name="connsiteY94" fmla="*/ 458248 h 1552193"/>
                <a:gd name="connsiteX95" fmla="*/ 1127951 w 7133463"/>
                <a:gd name="connsiteY95" fmla="*/ 458248 h 1552193"/>
                <a:gd name="connsiteX96" fmla="*/ 1127951 w 7133463"/>
                <a:gd name="connsiteY96" fmla="*/ 466820 h 1552193"/>
                <a:gd name="connsiteX97" fmla="*/ 1145667 w 7133463"/>
                <a:gd name="connsiteY97" fmla="*/ 466820 h 1552193"/>
                <a:gd name="connsiteX98" fmla="*/ 1145667 w 7133463"/>
                <a:gd name="connsiteY98" fmla="*/ 475202 h 1552193"/>
                <a:gd name="connsiteX99" fmla="*/ 1157478 w 7133463"/>
                <a:gd name="connsiteY99" fmla="*/ 475202 h 1552193"/>
                <a:gd name="connsiteX100" fmla="*/ 1157478 w 7133463"/>
                <a:gd name="connsiteY100" fmla="*/ 492252 h 1552193"/>
                <a:gd name="connsiteX101" fmla="*/ 1175290 w 7133463"/>
                <a:gd name="connsiteY101" fmla="*/ 492252 h 1552193"/>
                <a:gd name="connsiteX102" fmla="*/ 1175290 w 7133463"/>
                <a:gd name="connsiteY102" fmla="*/ 509207 h 1552193"/>
                <a:gd name="connsiteX103" fmla="*/ 1181100 w 7133463"/>
                <a:gd name="connsiteY103" fmla="*/ 509207 h 1552193"/>
                <a:gd name="connsiteX104" fmla="*/ 1181100 w 7133463"/>
                <a:gd name="connsiteY104" fmla="*/ 517779 h 1552193"/>
                <a:gd name="connsiteX105" fmla="*/ 1187006 w 7133463"/>
                <a:gd name="connsiteY105" fmla="*/ 517779 h 1552193"/>
                <a:gd name="connsiteX106" fmla="*/ 1187006 w 7133463"/>
                <a:gd name="connsiteY106" fmla="*/ 526161 h 1552193"/>
                <a:gd name="connsiteX107" fmla="*/ 1192911 w 7133463"/>
                <a:gd name="connsiteY107" fmla="*/ 526161 h 1552193"/>
                <a:gd name="connsiteX108" fmla="*/ 1192911 w 7133463"/>
                <a:gd name="connsiteY108" fmla="*/ 534734 h 1552193"/>
                <a:gd name="connsiteX109" fmla="*/ 1240155 w 7133463"/>
                <a:gd name="connsiteY109" fmla="*/ 534734 h 1552193"/>
                <a:gd name="connsiteX110" fmla="*/ 1240155 w 7133463"/>
                <a:gd name="connsiteY110" fmla="*/ 543211 h 1552193"/>
                <a:gd name="connsiteX111" fmla="*/ 1245965 w 7133463"/>
                <a:gd name="connsiteY111" fmla="*/ 543211 h 1552193"/>
                <a:gd name="connsiteX112" fmla="*/ 1245965 w 7133463"/>
                <a:gd name="connsiteY112" fmla="*/ 551688 h 1552193"/>
                <a:gd name="connsiteX113" fmla="*/ 1251966 w 7133463"/>
                <a:gd name="connsiteY113" fmla="*/ 551688 h 1552193"/>
                <a:gd name="connsiteX114" fmla="*/ 1251966 w 7133463"/>
                <a:gd name="connsiteY114" fmla="*/ 568643 h 1552193"/>
                <a:gd name="connsiteX115" fmla="*/ 1257872 w 7133463"/>
                <a:gd name="connsiteY115" fmla="*/ 568643 h 1552193"/>
                <a:gd name="connsiteX116" fmla="*/ 1257872 w 7133463"/>
                <a:gd name="connsiteY116" fmla="*/ 585692 h 1552193"/>
                <a:gd name="connsiteX117" fmla="*/ 1263682 w 7133463"/>
                <a:gd name="connsiteY117" fmla="*/ 585692 h 1552193"/>
                <a:gd name="connsiteX118" fmla="*/ 1263682 w 7133463"/>
                <a:gd name="connsiteY118" fmla="*/ 594170 h 1552193"/>
                <a:gd name="connsiteX119" fmla="*/ 1358265 w 7133463"/>
                <a:gd name="connsiteY119" fmla="*/ 594170 h 1552193"/>
                <a:gd name="connsiteX120" fmla="*/ 1358265 w 7133463"/>
                <a:gd name="connsiteY120" fmla="*/ 602837 h 1552193"/>
                <a:gd name="connsiteX121" fmla="*/ 1393603 w 7133463"/>
                <a:gd name="connsiteY121" fmla="*/ 602837 h 1552193"/>
                <a:gd name="connsiteX122" fmla="*/ 1393603 w 7133463"/>
                <a:gd name="connsiteY122" fmla="*/ 620173 h 1552193"/>
                <a:gd name="connsiteX123" fmla="*/ 1505903 w 7133463"/>
                <a:gd name="connsiteY123" fmla="*/ 620173 h 1552193"/>
                <a:gd name="connsiteX124" fmla="*/ 1505903 w 7133463"/>
                <a:gd name="connsiteY124" fmla="*/ 637699 h 1552193"/>
                <a:gd name="connsiteX125" fmla="*/ 1511808 w 7133463"/>
                <a:gd name="connsiteY125" fmla="*/ 637699 h 1552193"/>
                <a:gd name="connsiteX126" fmla="*/ 1511808 w 7133463"/>
                <a:gd name="connsiteY126" fmla="*/ 655130 h 1552193"/>
                <a:gd name="connsiteX127" fmla="*/ 1547241 w 7133463"/>
                <a:gd name="connsiteY127" fmla="*/ 655130 h 1552193"/>
                <a:gd name="connsiteX128" fmla="*/ 1547241 w 7133463"/>
                <a:gd name="connsiteY128" fmla="*/ 663893 h 1552193"/>
                <a:gd name="connsiteX129" fmla="*/ 1612106 w 7133463"/>
                <a:gd name="connsiteY129" fmla="*/ 663893 h 1552193"/>
                <a:gd name="connsiteX130" fmla="*/ 1612106 w 7133463"/>
                <a:gd name="connsiteY130" fmla="*/ 672751 h 1552193"/>
                <a:gd name="connsiteX131" fmla="*/ 1624013 w 7133463"/>
                <a:gd name="connsiteY131" fmla="*/ 672751 h 1552193"/>
                <a:gd name="connsiteX132" fmla="*/ 1624013 w 7133463"/>
                <a:gd name="connsiteY132" fmla="*/ 681419 h 1552193"/>
                <a:gd name="connsiteX133" fmla="*/ 1635728 w 7133463"/>
                <a:gd name="connsiteY133" fmla="*/ 681419 h 1552193"/>
                <a:gd name="connsiteX134" fmla="*/ 1635728 w 7133463"/>
                <a:gd name="connsiteY134" fmla="*/ 690277 h 1552193"/>
                <a:gd name="connsiteX135" fmla="*/ 1659446 w 7133463"/>
                <a:gd name="connsiteY135" fmla="*/ 690277 h 1552193"/>
                <a:gd name="connsiteX136" fmla="*/ 1659446 w 7133463"/>
                <a:gd name="connsiteY136" fmla="*/ 699040 h 1552193"/>
                <a:gd name="connsiteX137" fmla="*/ 1665446 w 7133463"/>
                <a:gd name="connsiteY137" fmla="*/ 699040 h 1552193"/>
                <a:gd name="connsiteX138" fmla="*/ 1665446 w 7133463"/>
                <a:gd name="connsiteY138" fmla="*/ 716566 h 1552193"/>
                <a:gd name="connsiteX139" fmla="*/ 1700689 w 7133463"/>
                <a:gd name="connsiteY139" fmla="*/ 716566 h 1552193"/>
                <a:gd name="connsiteX140" fmla="*/ 1700689 w 7133463"/>
                <a:gd name="connsiteY140" fmla="*/ 725424 h 1552193"/>
                <a:gd name="connsiteX141" fmla="*/ 1765745 w 7133463"/>
                <a:gd name="connsiteY141" fmla="*/ 725424 h 1552193"/>
                <a:gd name="connsiteX142" fmla="*/ 1765745 w 7133463"/>
                <a:gd name="connsiteY142" fmla="*/ 742950 h 1552193"/>
                <a:gd name="connsiteX143" fmla="*/ 1795272 w 7133463"/>
                <a:gd name="connsiteY143" fmla="*/ 742950 h 1552193"/>
                <a:gd name="connsiteX144" fmla="*/ 1795272 w 7133463"/>
                <a:gd name="connsiteY144" fmla="*/ 751713 h 1552193"/>
                <a:gd name="connsiteX145" fmla="*/ 1801178 w 7133463"/>
                <a:gd name="connsiteY145" fmla="*/ 751713 h 1552193"/>
                <a:gd name="connsiteX146" fmla="*/ 1801178 w 7133463"/>
                <a:gd name="connsiteY146" fmla="*/ 760476 h 1552193"/>
                <a:gd name="connsiteX147" fmla="*/ 1871948 w 7133463"/>
                <a:gd name="connsiteY147" fmla="*/ 760476 h 1552193"/>
                <a:gd name="connsiteX148" fmla="*/ 1871948 w 7133463"/>
                <a:gd name="connsiteY148" fmla="*/ 787051 h 1552193"/>
                <a:gd name="connsiteX149" fmla="*/ 1883855 w 7133463"/>
                <a:gd name="connsiteY149" fmla="*/ 787051 h 1552193"/>
                <a:gd name="connsiteX150" fmla="*/ 1883855 w 7133463"/>
                <a:gd name="connsiteY150" fmla="*/ 804672 h 1552193"/>
                <a:gd name="connsiteX151" fmla="*/ 1960626 w 7133463"/>
                <a:gd name="connsiteY151" fmla="*/ 804672 h 1552193"/>
                <a:gd name="connsiteX152" fmla="*/ 1960626 w 7133463"/>
                <a:gd name="connsiteY152" fmla="*/ 813626 h 1552193"/>
                <a:gd name="connsiteX153" fmla="*/ 2001869 w 7133463"/>
                <a:gd name="connsiteY153" fmla="*/ 813626 h 1552193"/>
                <a:gd name="connsiteX154" fmla="*/ 2001869 w 7133463"/>
                <a:gd name="connsiteY154" fmla="*/ 831247 h 1552193"/>
                <a:gd name="connsiteX155" fmla="*/ 2037398 w 7133463"/>
                <a:gd name="connsiteY155" fmla="*/ 831247 h 1552193"/>
                <a:gd name="connsiteX156" fmla="*/ 2037398 w 7133463"/>
                <a:gd name="connsiteY156" fmla="*/ 840105 h 1552193"/>
                <a:gd name="connsiteX157" fmla="*/ 2119979 w 7133463"/>
                <a:gd name="connsiteY157" fmla="*/ 840105 h 1552193"/>
                <a:gd name="connsiteX158" fmla="*/ 2119979 w 7133463"/>
                <a:gd name="connsiteY158" fmla="*/ 866680 h 1552193"/>
                <a:gd name="connsiteX159" fmla="*/ 2125790 w 7133463"/>
                <a:gd name="connsiteY159" fmla="*/ 866680 h 1552193"/>
                <a:gd name="connsiteX160" fmla="*/ 2125790 w 7133463"/>
                <a:gd name="connsiteY160" fmla="*/ 875538 h 1552193"/>
                <a:gd name="connsiteX161" fmla="*/ 2137696 w 7133463"/>
                <a:gd name="connsiteY161" fmla="*/ 875538 h 1552193"/>
                <a:gd name="connsiteX162" fmla="*/ 2137696 w 7133463"/>
                <a:gd name="connsiteY162" fmla="*/ 884396 h 1552193"/>
                <a:gd name="connsiteX163" fmla="*/ 2143601 w 7133463"/>
                <a:gd name="connsiteY163" fmla="*/ 884396 h 1552193"/>
                <a:gd name="connsiteX164" fmla="*/ 2143601 w 7133463"/>
                <a:gd name="connsiteY164" fmla="*/ 893159 h 1552193"/>
                <a:gd name="connsiteX165" fmla="*/ 2238185 w 7133463"/>
                <a:gd name="connsiteY165" fmla="*/ 893159 h 1552193"/>
                <a:gd name="connsiteX166" fmla="*/ 2238185 w 7133463"/>
                <a:gd name="connsiteY166" fmla="*/ 910971 h 1552193"/>
                <a:gd name="connsiteX167" fmla="*/ 2243995 w 7133463"/>
                <a:gd name="connsiteY167" fmla="*/ 910971 h 1552193"/>
                <a:gd name="connsiteX168" fmla="*/ 2243995 w 7133463"/>
                <a:gd name="connsiteY168" fmla="*/ 928592 h 1552193"/>
                <a:gd name="connsiteX169" fmla="*/ 2255901 w 7133463"/>
                <a:gd name="connsiteY169" fmla="*/ 928592 h 1552193"/>
                <a:gd name="connsiteX170" fmla="*/ 2255901 w 7133463"/>
                <a:gd name="connsiteY170" fmla="*/ 937451 h 1552193"/>
                <a:gd name="connsiteX171" fmla="*/ 2261807 w 7133463"/>
                <a:gd name="connsiteY171" fmla="*/ 937451 h 1552193"/>
                <a:gd name="connsiteX172" fmla="*/ 2261807 w 7133463"/>
                <a:gd name="connsiteY172" fmla="*/ 946309 h 1552193"/>
                <a:gd name="connsiteX173" fmla="*/ 2279428 w 7133463"/>
                <a:gd name="connsiteY173" fmla="*/ 946309 h 1552193"/>
                <a:gd name="connsiteX174" fmla="*/ 2279428 w 7133463"/>
                <a:gd name="connsiteY174" fmla="*/ 955167 h 1552193"/>
                <a:gd name="connsiteX175" fmla="*/ 2403539 w 7133463"/>
                <a:gd name="connsiteY175" fmla="*/ 955167 h 1552193"/>
                <a:gd name="connsiteX176" fmla="*/ 2403539 w 7133463"/>
                <a:gd name="connsiteY176" fmla="*/ 964121 h 1552193"/>
                <a:gd name="connsiteX177" fmla="*/ 2415159 w 7133463"/>
                <a:gd name="connsiteY177" fmla="*/ 964121 h 1552193"/>
                <a:gd name="connsiteX178" fmla="*/ 2415159 w 7133463"/>
                <a:gd name="connsiteY178" fmla="*/ 973169 h 1552193"/>
                <a:gd name="connsiteX179" fmla="*/ 2421160 w 7133463"/>
                <a:gd name="connsiteY179" fmla="*/ 973169 h 1552193"/>
                <a:gd name="connsiteX180" fmla="*/ 2421160 w 7133463"/>
                <a:gd name="connsiteY180" fmla="*/ 982218 h 1552193"/>
                <a:gd name="connsiteX181" fmla="*/ 2539270 w 7133463"/>
                <a:gd name="connsiteY181" fmla="*/ 982218 h 1552193"/>
                <a:gd name="connsiteX182" fmla="*/ 2539270 w 7133463"/>
                <a:gd name="connsiteY182" fmla="*/ 991172 h 1552193"/>
                <a:gd name="connsiteX183" fmla="*/ 2545271 w 7133463"/>
                <a:gd name="connsiteY183" fmla="*/ 991172 h 1552193"/>
                <a:gd name="connsiteX184" fmla="*/ 2545271 w 7133463"/>
                <a:gd name="connsiteY184" fmla="*/ 1000316 h 1552193"/>
                <a:gd name="connsiteX185" fmla="*/ 2610136 w 7133463"/>
                <a:gd name="connsiteY185" fmla="*/ 1000316 h 1552193"/>
                <a:gd name="connsiteX186" fmla="*/ 2610136 w 7133463"/>
                <a:gd name="connsiteY186" fmla="*/ 1009174 h 1552193"/>
                <a:gd name="connsiteX187" fmla="*/ 2710434 w 7133463"/>
                <a:gd name="connsiteY187" fmla="*/ 1009174 h 1552193"/>
                <a:gd name="connsiteX188" fmla="*/ 2710434 w 7133463"/>
                <a:gd name="connsiteY188" fmla="*/ 1018413 h 1552193"/>
                <a:gd name="connsiteX189" fmla="*/ 2751868 w 7133463"/>
                <a:gd name="connsiteY189" fmla="*/ 1018413 h 1552193"/>
                <a:gd name="connsiteX190" fmla="*/ 2751868 w 7133463"/>
                <a:gd name="connsiteY190" fmla="*/ 1027462 h 1552193"/>
                <a:gd name="connsiteX191" fmla="*/ 2881694 w 7133463"/>
                <a:gd name="connsiteY191" fmla="*/ 1027462 h 1552193"/>
                <a:gd name="connsiteX192" fmla="*/ 2881694 w 7133463"/>
                <a:gd name="connsiteY192" fmla="*/ 1036892 h 1552193"/>
                <a:gd name="connsiteX193" fmla="*/ 2988183 w 7133463"/>
                <a:gd name="connsiteY193" fmla="*/ 1036892 h 1552193"/>
                <a:gd name="connsiteX194" fmla="*/ 2988183 w 7133463"/>
                <a:gd name="connsiteY194" fmla="*/ 1046226 h 1552193"/>
                <a:gd name="connsiteX195" fmla="*/ 2999804 w 7133463"/>
                <a:gd name="connsiteY195" fmla="*/ 1046226 h 1552193"/>
                <a:gd name="connsiteX196" fmla="*/ 2999804 w 7133463"/>
                <a:gd name="connsiteY196" fmla="*/ 1055656 h 1552193"/>
                <a:gd name="connsiteX197" fmla="*/ 3100292 w 7133463"/>
                <a:gd name="connsiteY197" fmla="*/ 1055656 h 1552193"/>
                <a:gd name="connsiteX198" fmla="*/ 3100292 w 7133463"/>
                <a:gd name="connsiteY198" fmla="*/ 1065086 h 1552193"/>
                <a:gd name="connsiteX199" fmla="*/ 3118009 w 7133463"/>
                <a:gd name="connsiteY199" fmla="*/ 1065086 h 1552193"/>
                <a:gd name="connsiteX200" fmla="*/ 3118009 w 7133463"/>
                <a:gd name="connsiteY200" fmla="*/ 1074420 h 1552193"/>
                <a:gd name="connsiteX201" fmla="*/ 3153442 w 7133463"/>
                <a:gd name="connsiteY201" fmla="*/ 1074420 h 1552193"/>
                <a:gd name="connsiteX202" fmla="*/ 3153442 w 7133463"/>
                <a:gd name="connsiteY202" fmla="*/ 1083755 h 1552193"/>
                <a:gd name="connsiteX203" fmla="*/ 3230213 w 7133463"/>
                <a:gd name="connsiteY203" fmla="*/ 1083755 h 1552193"/>
                <a:gd name="connsiteX204" fmla="*/ 3230213 w 7133463"/>
                <a:gd name="connsiteY204" fmla="*/ 1093184 h 1552193"/>
                <a:gd name="connsiteX205" fmla="*/ 3236119 w 7133463"/>
                <a:gd name="connsiteY205" fmla="*/ 1093184 h 1552193"/>
                <a:gd name="connsiteX206" fmla="*/ 3236119 w 7133463"/>
                <a:gd name="connsiteY206" fmla="*/ 1102614 h 1552193"/>
                <a:gd name="connsiteX207" fmla="*/ 3247930 w 7133463"/>
                <a:gd name="connsiteY207" fmla="*/ 1102614 h 1552193"/>
                <a:gd name="connsiteX208" fmla="*/ 3247930 w 7133463"/>
                <a:gd name="connsiteY208" fmla="*/ 1112044 h 1552193"/>
                <a:gd name="connsiteX209" fmla="*/ 3259741 w 7133463"/>
                <a:gd name="connsiteY209" fmla="*/ 1112044 h 1552193"/>
                <a:gd name="connsiteX210" fmla="*/ 3259741 w 7133463"/>
                <a:gd name="connsiteY210" fmla="*/ 1121378 h 1552193"/>
                <a:gd name="connsiteX211" fmla="*/ 3336512 w 7133463"/>
                <a:gd name="connsiteY211" fmla="*/ 1121378 h 1552193"/>
                <a:gd name="connsiteX212" fmla="*/ 3336512 w 7133463"/>
                <a:gd name="connsiteY212" fmla="*/ 1130808 h 1552193"/>
                <a:gd name="connsiteX213" fmla="*/ 3371850 w 7133463"/>
                <a:gd name="connsiteY213" fmla="*/ 1130808 h 1552193"/>
                <a:gd name="connsiteX214" fmla="*/ 3371850 w 7133463"/>
                <a:gd name="connsiteY214" fmla="*/ 1140238 h 1552193"/>
                <a:gd name="connsiteX215" fmla="*/ 3436811 w 7133463"/>
                <a:gd name="connsiteY215" fmla="*/ 1140238 h 1552193"/>
                <a:gd name="connsiteX216" fmla="*/ 3436811 w 7133463"/>
                <a:gd name="connsiteY216" fmla="*/ 1149763 h 1552193"/>
                <a:gd name="connsiteX217" fmla="*/ 3484055 w 7133463"/>
                <a:gd name="connsiteY217" fmla="*/ 1149763 h 1552193"/>
                <a:gd name="connsiteX218" fmla="*/ 3484055 w 7133463"/>
                <a:gd name="connsiteY218" fmla="*/ 1159478 h 1552193"/>
                <a:gd name="connsiteX219" fmla="*/ 3613975 w 7133463"/>
                <a:gd name="connsiteY219" fmla="*/ 1159478 h 1552193"/>
                <a:gd name="connsiteX220" fmla="*/ 3613975 w 7133463"/>
                <a:gd name="connsiteY220" fmla="*/ 1169099 h 1552193"/>
                <a:gd name="connsiteX221" fmla="*/ 3619976 w 7133463"/>
                <a:gd name="connsiteY221" fmla="*/ 1169099 h 1552193"/>
                <a:gd name="connsiteX222" fmla="*/ 3619976 w 7133463"/>
                <a:gd name="connsiteY222" fmla="*/ 1178719 h 1552193"/>
                <a:gd name="connsiteX223" fmla="*/ 3743992 w 7133463"/>
                <a:gd name="connsiteY223" fmla="*/ 1178719 h 1552193"/>
                <a:gd name="connsiteX224" fmla="*/ 3743992 w 7133463"/>
                <a:gd name="connsiteY224" fmla="*/ 1188530 h 1552193"/>
                <a:gd name="connsiteX225" fmla="*/ 3856006 w 7133463"/>
                <a:gd name="connsiteY225" fmla="*/ 1188530 h 1552193"/>
                <a:gd name="connsiteX226" fmla="*/ 3856006 w 7133463"/>
                <a:gd name="connsiteY226" fmla="*/ 1218152 h 1552193"/>
                <a:gd name="connsiteX227" fmla="*/ 3867912 w 7133463"/>
                <a:gd name="connsiteY227" fmla="*/ 1218152 h 1552193"/>
                <a:gd name="connsiteX228" fmla="*/ 3867912 w 7133463"/>
                <a:gd name="connsiteY228" fmla="*/ 1228058 h 1552193"/>
                <a:gd name="connsiteX229" fmla="*/ 3873817 w 7133463"/>
                <a:gd name="connsiteY229" fmla="*/ 1228058 h 1552193"/>
                <a:gd name="connsiteX230" fmla="*/ 3873817 w 7133463"/>
                <a:gd name="connsiteY230" fmla="*/ 1237964 h 1552193"/>
                <a:gd name="connsiteX231" fmla="*/ 3974211 w 7133463"/>
                <a:gd name="connsiteY231" fmla="*/ 1237964 h 1552193"/>
                <a:gd name="connsiteX232" fmla="*/ 3974211 w 7133463"/>
                <a:gd name="connsiteY232" fmla="*/ 1247775 h 1552193"/>
                <a:gd name="connsiteX233" fmla="*/ 4228052 w 7133463"/>
                <a:gd name="connsiteY233" fmla="*/ 1247775 h 1552193"/>
                <a:gd name="connsiteX234" fmla="*/ 4228052 w 7133463"/>
                <a:gd name="connsiteY234" fmla="*/ 1257872 h 1552193"/>
                <a:gd name="connsiteX235" fmla="*/ 4423029 w 7133463"/>
                <a:gd name="connsiteY235" fmla="*/ 1257872 h 1552193"/>
                <a:gd name="connsiteX236" fmla="*/ 4423029 w 7133463"/>
                <a:gd name="connsiteY236" fmla="*/ 1267968 h 1552193"/>
                <a:gd name="connsiteX237" fmla="*/ 4476179 w 7133463"/>
                <a:gd name="connsiteY237" fmla="*/ 1267968 h 1552193"/>
                <a:gd name="connsiteX238" fmla="*/ 4476179 w 7133463"/>
                <a:gd name="connsiteY238" fmla="*/ 1278160 h 1552193"/>
                <a:gd name="connsiteX239" fmla="*/ 4482084 w 7133463"/>
                <a:gd name="connsiteY239" fmla="*/ 1278160 h 1552193"/>
                <a:gd name="connsiteX240" fmla="*/ 4482084 w 7133463"/>
                <a:gd name="connsiteY240" fmla="*/ 1288352 h 1552193"/>
                <a:gd name="connsiteX241" fmla="*/ 4558856 w 7133463"/>
                <a:gd name="connsiteY241" fmla="*/ 1288352 h 1552193"/>
                <a:gd name="connsiteX242" fmla="*/ 4558856 w 7133463"/>
                <a:gd name="connsiteY242" fmla="*/ 1298543 h 1552193"/>
                <a:gd name="connsiteX243" fmla="*/ 4724210 w 7133463"/>
                <a:gd name="connsiteY243" fmla="*/ 1298543 h 1552193"/>
                <a:gd name="connsiteX244" fmla="*/ 4724210 w 7133463"/>
                <a:gd name="connsiteY244" fmla="*/ 1309307 h 1552193"/>
                <a:gd name="connsiteX245" fmla="*/ 4730115 w 7133463"/>
                <a:gd name="connsiteY245" fmla="*/ 1309307 h 1552193"/>
                <a:gd name="connsiteX246" fmla="*/ 4730115 w 7133463"/>
                <a:gd name="connsiteY246" fmla="*/ 1320070 h 1552193"/>
                <a:gd name="connsiteX247" fmla="*/ 4972241 w 7133463"/>
                <a:gd name="connsiteY247" fmla="*/ 1320070 h 1552193"/>
                <a:gd name="connsiteX248" fmla="*/ 4972241 w 7133463"/>
                <a:gd name="connsiteY248" fmla="*/ 1332357 h 1552193"/>
                <a:gd name="connsiteX249" fmla="*/ 4978051 w 7133463"/>
                <a:gd name="connsiteY249" fmla="*/ 1332357 h 1552193"/>
                <a:gd name="connsiteX250" fmla="*/ 4978051 w 7133463"/>
                <a:gd name="connsiteY250" fmla="*/ 1345216 h 1552193"/>
                <a:gd name="connsiteX251" fmla="*/ 5037297 w 7133463"/>
                <a:gd name="connsiteY251" fmla="*/ 1345216 h 1552193"/>
                <a:gd name="connsiteX252" fmla="*/ 5037297 w 7133463"/>
                <a:gd name="connsiteY252" fmla="*/ 1359694 h 1552193"/>
                <a:gd name="connsiteX253" fmla="*/ 5586318 w 7133463"/>
                <a:gd name="connsiteY253" fmla="*/ 1359694 h 1552193"/>
                <a:gd name="connsiteX254" fmla="*/ 5586318 w 7133463"/>
                <a:gd name="connsiteY254" fmla="*/ 1388745 h 1552193"/>
                <a:gd name="connsiteX255" fmla="*/ 5598224 w 7133463"/>
                <a:gd name="connsiteY255" fmla="*/ 1388745 h 1552193"/>
                <a:gd name="connsiteX256" fmla="*/ 5598224 w 7133463"/>
                <a:gd name="connsiteY256" fmla="*/ 1417701 h 1552193"/>
                <a:gd name="connsiteX257" fmla="*/ 5958269 w 7133463"/>
                <a:gd name="connsiteY257" fmla="*/ 1417701 h 1552193"/>
                <a:gd name="connsiteX258" fmla="*/ 5958269 w 7133463"/>
                <a:gd name="connsiteY258" fmla="*/ 1462564 h 1552193"/>
                <a:gd name="connsiteX259" fmla="*/ 6224016 w 7133463"/>
                <a:gd name="connsiteY259" fmla="*/ 1462564 h 1552193"/>
                <a:gd name="connsiteX260" fmla="*/ 6224016 w 7133463"/>
                <a:gd name="connsiteY260" fmla="*/ 1552194 h 1552193"/>
                <a:gd name="connsiteX261" fmla="*/ 7133463 w 7133463"/>
                <a:gd name="connsiteY261" fmla="*/ 1552194 h 155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</a:cxnLst>
              <a:rect l="l" t="t" r="r" b="b"/>
              <a:pathLst>
                <a:path w="7133463" h="1552193">
                  <a:moveTo>
                    <a:pt x="0" y="0"/>
                  </a:moveTo>
                  <a:lnTo>
                    <a:pt x="17812" y="0"/>
                  </a:lnTo>
                  <a:lnTo>
                    <a:pt x="17812" y="8001"/>
                  </a:lnTo>
                  <a:lnTo>
                    <a:pt x="130016" y="8001"/>
                  </a:lnTo>
                  <a:lnTo>
                    <a:pt x="130016" y="23908"/>
                  </a:lnTo>
                  <a:lnTo>
                    <a:pt x="135922" y="23908"/>
                  </a:lnTo>
                  <a:lnTo>
                    <a:pt x="135922" y="47816"/>
                  </a:lnTo>
                  <a:lnTo>
                    <a:pt x="141732" y="47816"/>
                  </a:lnTo>
                  <a:lnTo>
                    <a:pt x="141732" y="55817"/>
                  </a:lnTo>
                  <a:lnTo>
                    <a:pt x="147733" y="55817"/>
                  </a:lnTo>
                  <a:lnTo>
                    <a:pt x="147733" y="63722"/>
                  </a:lnTo>
                  <a:lnTo>
                    <a:pt x="153638" y="63722"/>
                  </a:lnTo>
                  <a:lnTo>
                    <a:pt x="153638" y="71819"/>
                  </a:lnTo>
                  <a:lnTo>
                    <a:pt x="218599" y="71819"/>
                  </a:lnTo>
                  <a:lnTo>
                    <a:pt x="218599" y="79820"/>
                  </a:lnTo>
                  <a:lnTo>
                    <a:pt x="224600" y="79820"/>
                  </a:lnTo>
                  <a:lnTo>
                    <a:pt x="224600" y="87821"/>
                  </a:lnTo>
                  <a:lnTo>
                    <a:pt x="230315" y="87821"/>
                  </a:lnTo>
                  <a:lnTo>
                    <a:pt x="230315" y="103727"/>
                  </a:lnTo>
                  <a:lnTo>
                    <a:pt x="242126" y="103727"/>
                  </a:lnTo>
                  <a:lnTo>
                    <a:pt x="242126" y="119729"/>
                  </a:lnTo>
                  <a:lnTo>
                    <a:pt x="254032" y="119729"/>
                  </a:lnTo>
                  <a:lnTo>
                    <a:pt x="254032" y="135731"/>
                  </a:lnTo>
                  <a:lnTo>
                    <a:pt x="259842" y="135731"/>
                  </a:lnTo>
                  <a:lnTo>
                    <a:pt x="259842" y="143732"/>
                  </a:lnTo>
                  <a:lnTo>
                    <a:pt x="271748" y="143732"/>
                  </a:lnTo>
                  <a:lnTo>
                    <a:pt x="271748" y="151829"/>
                  </a:lnTo>
                  <a:lnTo>
                    <a:pt x="301276" y="151829"/>
                  </a:lnTo>
                  <a:lnTo>
                    <a:pt x="301276" y="159830"/>
                  </a:lnTo>
                  <a:lnTo>
                    <a:pt x="307181" y="159830"/>
                  </a:lnTo>
                  <a:lnTo>
                    <a:pt x="307181" y="168021"/>
                  </a:lnTo>
                  <a:lnTo>
                    <a:pt x="342519" y="168021"/>
                  </a:lnTo>
                  <a:lnTo>
                    <a:pt x="342519" y="176117"/>
                  </a:lnTo>
                  <a:lnTo>
                    <a:pt x="377952" y="176117"/>
                  </a:lnTo>
                  <a:lnTo>
                    <a:pt x="377952" y="184118"/>
                  </a:lnTo>
                  <a:lnTo>
                    <a:pt x="395764" y="184118"/>
                  </a:lnTo>
                  <a:lnTo>
                    <a:pt x="395764" y="192310"/>
                  </a:lnTo>
                  <a:lnTo>
                    <a:pt x="437007" y="192310"/>
                  </a:lnTo>
                  <a:lnTo>
                    <a:pt x="437007" y="200406"/>
                  </a:lnTo>
                  <a:lnTo>
                    <a:pt x="502063" y="200406"/>
                  </a:lnTo>
                  <a:lnTo>
                    <a:pt x="502063" y="216789"/>
                  </a:lnTo>
                  <a:lnTo>
                    <a:pt x="507968" y="216789"/>
                  </a:lnTo>
                  <a:lnTo>
                    <a:pt x="507968" y="224981"/>
                  </a:lnTo>
                  <a:lnTo>
                    <a:pt x="519684" y="224981"/>
                  </a:lnTo>
                  <a:lnTo>
                    <a:pt x="519684" y="233267"/>
                  </a:lnTo>
                  <a:lnTo>
                    <a:pt x="543401" y="233267"/>
                  </a:lnTo>
                  <a:lnTo>
                    <a:pt x="543401" y="241364"/>
                  </a:lnTo>
                  <a:lnTo>
                    <a:pt x="590645" y="241364"/>
                  </a:lnTo>
                  <a:lnTo>
                    <a:pt x="590645" y="249650"/>
                  </a:lnTo>
                  <a:lnTo>
                    <a:pt x="637889" y="249650"/>
                  </a:lnTo>
                  <a:lnTo>
                    <a:pt x="637889" y="258032"/>
                  </a:lnTo>
                  <a:lnTo>
                    <a:pt x="643795" y="258032"/>
                  </a:lnTo>
                  <a:lnTo>
                    <a:pt x="643795" y="274510"/>
                  </a:lnTo>
                  <a:lnTo>
                    <a:pt x="649700" y="274510"/>
                  </a:lnTo>
                  <a:lnTo>
                    <a:pt x="649700" y="282893"/>
                  </a:lnTo>
                  <a:lnTo>
                    <a:pt x="655606" y="282893"/>
                  </a:lnTo>
                  <a:lnTo>
                    <a:pt x="655606" y="291179"/>
                  </a:lnTo>
                  <a:lnTo>
                    <a:pt x="714661" y="291179"/>
                  </a:lnTo>
                  <a:lnTo>
                    <a:pt x="714661" y="299466"/>
                  </a:lnTo>
                  <a:lnTo>
                    <a:pt x="732282" y="299466"/>
                  </a:lnTo>
                  <a:lnTo>
                    <a:pt x="732282" y="307848"/>
                  </a:lnTo>
                  <a:lnTo>
                    <a:pt x="749999" y="307848"/>
                  </a:lnTo>
                  <a:lnTo>
                    <a:pt x="749999" y="324422"/>
                  </a:lnTo>
                  <a:lnTo>
                    <a:pt x="755904" y="324422"/>
                  </a:lnTo>
                  <a:lnTo>
                    <a:pt x="755904" y="332708"/>
                  </a:lnTo>
                  <a:lnTo>
                    <a:pt x="767810" y="332708"/>
                  </a:lnTo>
                  <a:lnTo>
                    <a:pt x="767810" y="340995"/>
                  </a:lnTo>
                  <a:lnTo>
                    <a:pt x="809149" y="340995"/>
                  </a:lnTo>
                  <a:lnTo>
                    <a:pt x="809149" y="349472"/>
                  </a:lnTo>
                  <a:lnTo>
                    <a:pt x="826770" y="349472"/>
                  </a:lnTo>
                  <a:lnTo>
                    <a:pt x="826770" y="357759"/>
                  </a:lnTo>
                  <a:lnTo>
                    <a:pt x="862298" y="357759"/>
                  </a:lnTo>
                  <a:lnTo>
                    <a:pt x="862298" y="366046"/>
                  </a:lnTo>
                  <a:lnTo>
                    <a:pt x="874014" y="366046"/>
                  </a:lnTo>
                  <a:lnTo>
                    <a:pt x="874014" y="374428"/>
                  </a:lnTo>
                  <a:lnTo>
                    <a:pt x="897636" y="374428"/>
                  </a:lnTo>
                  <a:lnTo>
                    <a:pt x="897636" y="382810"/>
                  </a:lnTo>
                  <a:lnTo>
                    <a:pt x="909542" y="382810"/>
                  </a:lnTo>
                  <a:lnTo>
                    <a:pt x="909542" y="391097"/>
                  </a:lnTo>
                  <a:lnTo>
                    <a:pt x="944975" y="391097"/>
                  </a:lnTo>
                  <a:lnTo>
                    <a:pt x="944975" y="399479"/>
                  </a:lnTo>
                  <a:lnTo>
                    <a:pt x="950690" y="399479"/>
                  </a:lnTo>
                  <a:lnTo>
                    <a:pt x="950690" y="407860"/>
                  </a:lnTo>
                  <a:lnTo>
                    <a:pt x="980313" y="407860"/>
                  </a:lnTo>
                  <a:lnTo>
                    <a:pt x="980313" y="416147"/>
                  </a:lnTo>
                  <a:lnTo>
                    <a:pt x="998030" y="416147"/>
                  </a:lnTo>
                  <a:lnTo>
                    <a:pt x="998030" y="424625"/>
                  </a:lnTo>
                  <a:lnTo>
                    <a:pt x="1015746" y="424625"/>
                  </a:lnTo>
                  <a:lnTo>
                    <a:pt x="1015746" y="432911"/>
                  </a:lnTo>
                  <a:lnTo>
                    <a:pt x="1086707" y="432911"/>
                  </a:lnTo>
                  <a:lnTo>
                    <a:pt x="1086707" y="441389"/>
                  </a:lnTo>
                  <a:lnTo>
                    <a:pt x="1104424" y="441389"/>
                  </a:lnTo>
                  <a:lnTo>
                    <a:pt x="1104424" y="449771"/>
                  </a:lnTo>
                  <a:lnTo>
                    <a:pt x="1121950" y="449771"/>
                  </a:lnTo>
                  <a:lnTo>
                    <a:pt x="1121950" y="458248"/>
                  </a:lnTo>
                  <a:lnTo>
                    <a:pt x="1127951" y="458248"/>
                  </a:lnTo>
                  <a:lnTo>
                    <a:pt x="1127951" y="466820"/>
                  </a:lnTo>
                  <a:lnTo>
                    <a:pt x="1145667" y="466820"/>
                  </a:lnTo>
                  <a:lnTo>
                    <a:pt x="1145667" y="475202"/>
                  </a:lnTo>
                  <a:lnTo>
                    <a:pt x="1157478" y="475202"/>
                  </a:lnTo>
                  <a:lnTo>
                    <a:pt x="1157478" y="492252"/>
                  </a:lnTo>
                  <a:lnTo>
                    <a:pt x="1175290" y="492252"/>
                  </a:lnTo>
                  <a:lnTo>
                    <a:pt x="1175290" y="509207"/>
                  </a:lnTo>
                  <a:lnTo>
                    <a:pt x="1181100" y="509207"/>
                  </a:lnTo>
                  <a:lnTo>
                    <a:pt x="1181100" y="517779"/>
                  </a:lnTo>
                  <a:lnTo>
                    <a:pt x="1187006" y="517779"/>
                  </a:lnTo>
                  <a:lnTo>
                    <a:pt x="1187006" y="526161"/>
                  </a:lnTo>
                  <a:lnTo>
                    <a:pt x="1192911" y="526161"/>
                  </a:lnTo>
                  <a:lnTo>
                    <a:pt x="1192911" y="534734"/>
                  </a:lnTo>
                  <a:lnTo>
                    <a:pt x="1240155" y="534734"/>
                  </a:lnTo>
                  <a:lnTo>
                    <a:pt x="1240155" y="543211"/>
                  </a:lnTo>
                  <a:lnTo>
                    <a:pt x="1245965" y="543211"/>
                  </a:lnTo>
                  <a:lnTo>
                    <a:pt x="1245965" y="551688"/>
                  </a:lnTo>
                  <a:lnTo>
                    <a:pt x="1251966" y="551688"/>
                  </a:lnTo>
                  <a:lnTo>
                    <a:pt x="1251966" y="568643"/>
                  </a:lnTo>
                  <a:lnTo>
                    <a:pt x="1257872" y="568643"/>
                  </a:lnTo>
                  <a:lnTo>
                    <a:pt x="1257872" y="585692"/>
                  </a:lnTo>
                  <a:lnTo>
                    <a:pt x="1263682" y="585692"/>
                  </a:lnTo>
                  <a:lnTo>
                    <a:pt x="1263682" y="594170"/>
                  </a:lnTo>
                  <a:lnTo>
                    <a:pt x="1358265" y="594170"/>
                  </a:lnTo>
                  <a:lnTo>
                    <a:pt x="1358265" y="602837"/>
                  </a:lnTo>
                  <a:lnTo>
                    <a:pt x="1393603" y="602837"/>
                  </a:lnTo>
                  <a:lnTo>
                    <a:pt x="1393603" y="620173"/>
                  </a:lnTo>
                  <a:lnTo>
                    <a:pt x="1505903" y="620173"/>
                  </a:lnTo>
                  <a:lnTo>
                    <a:pt x="1505903" y="637699"/>
                  </a:lnTo>
                  <a:lnTo>
                    <a:pt x="1511808" y="637699"/>
                  </a:lnTo>
                  <a:lnTo>
                    <a:pt x="1511808" y="655130"/>
                  </a:lnTo>
                  <a:lnTo>
                    <a:pt x="1547241" y="655130"/>
                  </a:lnTo>
                  <a:lnTo>
                    <a:pt x="1547241" y="663893"/>
                  </a:lnTo>
                  <a:lnTo>
                    <a:pt x="1612106" y="663893"/>
                  </a:lnTo>
                  <a:lnTo>
                    <a:pt x="1612106" y="672751"/>
                  </a:lnTo>
                  <a:lnTo>
                    <a:pt x="1624013" y="672751"/>
                  </a:lnTo>
                  <a:lnTo>
                    <a:pt x="1624013" y="681419"/>
                  </a:lnTo>
                  <a:lnTo>
                    <a:pt x="1635728" y="681419"/>
                  </a:lnTo>
                  <a:lnTo>
                    <a:pt x="1635728" y="690277"/>
                  </a:lnTo>
                  <a:lnTo>
                    <a:pt x="1659446" y="690277"/>
                  </a:lnTo>
                  <a:lnTo>
                    <a:pt x="1659446" y="699040"/>
                  </a:lnTo>
                  <a:lnTo>
                    <a:pt x="1665446" y="699040"/>
                  </a:lnTo>
                  <a:lnTo>
                    <a:pt x="1665446" y="716566"/>
                  </a:lnTo>
                  <a:lnTo>
                    <a:pt x="1700689" y="716566"/>
                  </a:lnTo>
                  <a:lnTo>
                    <a:pt x="1700689" y="725424"/>
                  </a:lnTo>
                  <a:lnTo>
                    <a:pt x="1765745" y="725424"/>
                  </a:lnTo>
                  <a:lnTo>
                    <a:pt x="1765745" y="742950"/>
                  </a:lnTo>
                  <a:lnTo>
                    <a:pt x="1795272" y="742950"/>
                  </a:lnTo>
                  <a:lnTo>
                    <a:pt x="1795272" y="751713"/>
                  </a:lnTo>
                  <a:lnTo>
                    <a:pt x="1801178" y="751713"/>
                  </a:lnTo>
                  <a:lnTo>
                    <a:pt x="1801178" y="760476"/>
                  </a:lnTo>
                  <a:lnTo>
                    <a:pt x="1871948" y="760476"/>
                  </a:lnTo>
                  <a:lnTo>
                    <a:pt x="1871948" y="787051"/>
                  </a:lnTo>
                  <a:lnTo>
                    <a:pt x="1883855" y="787051"/>
                  </a:lnTo>
                  <a:lnTo>
                    <a:pt x="1883855" y="804672"/>
                  </a:lnTo>
                  <a:lnTo>
                    <a:pt x="1960626" y="804672"/>
                  </a:lnTo>
                  <a:lnTo>
                    <a:pt x="1960626" y="813626"/>
                  </a:lnTo>
                  <a:lnTo>
                    <a:pt x="2001869" y="813626"/>
                  </a:lnTo>
                  <a:lnTo>
                    <a:pt x="2001869" y="831247"/>
                  </a:lnTo>
                  <a:lnTo>
                    <a:pt x="2037398" y="831247"/>
                  </a:lnTo>
                  <a:lnTo>
                    <a:pt x="2037398" y="840105"/>
                  </a:lnTo>
                  <a:lnTo>
                    <a:pt x="2119979" y="840105"/>
                  </a:lnTo>
                  <a:lnTo>
                    <a:pt x="2119979" y="866680"/>
                  </a:lnTo>
                  <a:lnTo>
                    <a:pt x="2125790" y="866680"/>
                  </a:lnTo>
                  <a:lnTo>
                    <a:pt x="2125790" y="875538"/>
                  </a:lnTo>
                  <a:lnTo>
                    <a:pt x="2137696" y="875538"/>
                  </a:lnTo>
                  <a:lnTo>
                    <a:pt x="2137696" y="884396"/>
                  </a:lnTo>
                  <a:lnTo>
                    <a:pt x="2143601" y="884396"/>
                  </a:lnTo>
                  <a:lnTo>
                    <a:pt x="2143601" y="893159"/>
                  </a:lnTo>
                  <a:lnTo>
                    <a:pt x="2238185" y="893159"/>
                  </a:lnTo>
                  <a:lnTo>
                    <a:pt x="2238185" y="910971"/>
                  </a:lnTo>
                  <a:lnTo>
                    <a:pt x="2243995" y="910971"/>
                  </a:lnTo>
                  <a:lnTo>
                    <a:pt x="2243995" y="928592"/>
                  </a:lnTo>
                  <a:lnTo>
                    <a:pt x="2255901" y="928592"/>
                  </a:lnTo>
                  <a:lnTo>
                    <a:pt x="2255901" y="937451"/>
                  </a:lnTo>
                  <a:lnTo>
                    <a:pt x="2261807" y="937451"/>
                  </a:lnTo>
                  <a:lnTo>
                    <a:pt x="2261807" y="946309"/>
                  </a:lnTo>
                  <a:lnTo>
                    <a:pt x="2279428" y="946309"/>
                  </a:lnTo>
                  <a:lnTo>
                    <a:pt x="2279428" y="955167"/>
                  </a:lnTo>
                  <a:lnTo>
                    <a:pt x="2403539" y="955167"/>
                  </a:lnTo>
                  <a:lnTo>
                    <a:pt x="2403539" y="964121"/>
                  </a:lnTo>
                  <a:lnTo>
                    <a:pt x="2415159" y="964121"/>
                  </a:lnTo>
                  <a:lnTo>
                    <a:pt x="2415159" y="973169"/>
                  </a:lnTo>
                  <a:lnTo>
                    <a:pt x="2421160" y="973169"/>
                  </a:lnTo>
                  <a:lnTo>
                    <a:pt x="2421160" y="982218"/>
                  </a:lnTo>
                  <a:lnTo>
                    <a:pt x="2539270" y="982218"/>
                  </a:lnTo>
                  <a:lnTo>
                    <a:pt x="2539270" y="991172"/>
                  </a:lnTo>
                  <a:lnTo>
                    <a:pt x="2545271" y="991172"/>
                  </a:lnTo>
                  <a:lnTo>
                    <a:pt x="2545271" y="1000316"/>
                  </a:lnTo>
                  <a:lnTo>
                    <a:pt x="2610136" y="1000316"/>
                  </a:lnTo>
                  <a:lnTo>
                    <a:pt x="2610136" y="1009174"/>
                  </a:lnTo>
                  <a:lnTo>
                    <a:pt x="2710434" y="1009174"/>
                  </a:lnTo>
                  <a:lnTo>
                    <a:pt x="2710434" y="1018413"/>
                  </a:lnTo>
                  <a:lnTo>
                    <a:pt x="2751868" y="1018413"/>
                  </a:lnTo>
                  <a:lnTo>
                    <a:pt x="2751868" y="1027462"/>
                  </a:lnTo>
                  <a:lnTo>
                    <a:pt x="2881694" y="1027462"/>
                  </a:lnTo>
                  <a:lnTo>
                    <a:pt x="2881694" y="1036892"/>
                  </a:lnTo>
                  <a:lnTo>
                    <a:pt x="2988183" y="1036892"/>
                  </a:lnTo>
                  <a:lnTo>
                    <a:pt x="2988183" y="1046226"/>
                  </a:lnTo>
                  <a:lnTo>
                    <a:pt x="2999804" y="1046226"/>
                  </a:lnTo>
                  <a:lnTo>
                    <a:pt x="2999804" y="1055656"/>
                  </a:lnTo>
                  <a:lnTo>
                    <a:pt x="3100292" y="1055656"/>
                  </a:lnTo>
                  <a:lnTo>
                    <a:pt x="3100292" y="1065086"/>
                  </a:lnTo>
                  <a:lnTo>
                    <a:pt x="3118009" y="1065086"/>
                  </a:lnTo>
                  <a:lnTo>
                    <a:pt x="3118009" y="1074420"/>
                  </a:lnTo>
                  <a:lnTo>
                    <a:pt x="3153442" y="1074420"/>
                  </a:lnTo>
                  <a:lnTo>
                    <a:pt x="3153442" y="1083755"/>
                  </a:lnTo>
                  <a:lnTo>
                    <a:pt x="3230213" y="1083755"/>
                  </a:lnTo>
                  <a:lnTo>
                    <a:pt x="3230213" y="1093184"/>
                  </a:lnTo>
                  <a:lnTo>
                    <a:pt x="3236119" y="1093184"/>
                  </a:lnTo>
                  <a:lnTo>
                    <a:pt x="3236119" y="1102614"/>
                  </a:lnTo>
                  <a:lnTo>
                    <a:pt x="3247930" y="1102614"/>
                  </a:lnTo>
                  <a:lnTo>
                    <a:pt x="3247930" y="1112044"/>
                  </a:lnTo>
                  <a:lnTo>
                    <a:pt x="3259741" y="1112044"/>
                  </a:lnTo>
                  <a:lnTo>
                    <a:pt x="3259741" y="1121378"/>
                  </a:lnTo>
                  <a:lnTo>
                    <a:pt x="3336512" y="1121378"/>
                  </a:lnTo>
                  <a:lnTo>
                    <a:pt x="3336512" y="1130808"/>
                  </a:lnTo>
                  <a:lnTo>
                    <a:pt x="3371850" y="1130808"/>
                  </a:lnTo>
                  <a:lnTo>
                    <a:pt x="3371850" y="1140238"/>
                  </a:lnTo>
                  <a:lnTo>
                    <a:pt x="3436811" y="1140238"/>
                  </a:lnTo>
                  <a:lnTo>
                    <a:pt x="3436811" y="1149763"/>
                  </a:lnTo>
                  <a:lnTo>
                    <a:pt x="3484055" y="1149763"/>
                  </a:lnTo>
                  <a:lnTo>
                    <a:pt x="3484055" y="1159478"/>
                  </a:lnTo>
                  <a:lnTo>
                    <a:pt x="3613975" y="1159478"/>
                  </a:lnTo>
                  <a:lnTo>
                    <a:pt x="3613975" y="1169099"/>
                  </a:lnTo>
                  <a:lnTo>
                    <a:pt x="3619976" y="1169099"/>
                  </a:lnTo>
                  <a:lnTo>
                    <a:pt x="3619976" y="1178719"/>
                  </a:lnTo>
                  <a:lnTo>
                    <a:pt x="3743992" y="1178719"/>
                  </a:lnTo>
                  <a:lnTo>
                    <a:pt x="3743992" y="1188530"/>
                  </a:lnTo>
                  <a:lnTo>
                    <a:pt x="3856006" y="1188530"/>
                  </a:lnTo>
                  <a:lnTo>
                    <a:pt x="3856006" y="1218152"/>
                  </a:lnTo>
                  <a:lnTo>
                    <a:pt x="3867912" y="1218152"/>
                  </a:lnTo>
                  <a:lnTo>
                    <a:pt x="3867912" y="1228058"/>
                  </a:lnTo>
                  <a:lnTo>
                    <a:pt x="3873817" y="1228058"/>
                  </a:lnTo>
                  <a:lnTo>
                    <a:pt x="3873817" y="1237964"/>
                  </a:lnTo>
                  <a:lnTo>
                    <a:pt x="3974211" y="1237964"/>
                  </a:lnTo>
                  <a:lnTo>
                    <a:pt x="3974211" y="1247775"/>
                  </a:lnTo>
                  <a:lnTo>
                    <a:pt x="4228052" y="1247775"/>
                  </a:lnTo>
                  <a:lnTo>
                    <a:pt x="4228052" y="1257872"/>
                  </a:lnTo>
                  <a:lnTo>
                    <a:pt x="4423029" y="1257872"/>
                  </a:lnTo>
                  <a:lnTo>
                    <a:pt x="4423029" y="1267968"/>
                  </a:lnTo>
                  <a:lnTo>
                    <a:pt x="4476179" y="1267968"/>
                  </a:lnTo>
                  <a:lnTo>
                    <a:pt x="4476179" y="1278160"/>
                  </a:lnTo>
                  <a:lnTo>
                    <a:pt x="4482084" y="1278160"/>
                  </a:lnTo>
                  <a:lnTo>
                    <a:pt x="4482084" y="1288352"/>
                  </a:lnTo>
                  <a:lnTo>
                    <a:pt x="4558856" y="1288352"/>
                  </a:lnTo>
                  <a:lnTo>
                    <a:pt x="4558856" y="1298543"/>
                  </a:lnTo>
                  <a:lnTo>
                    <a:pt x="4724210" y="1298543"/>
                  </a:lnTo>
                  <a:lnTo>
                    <a:pt x="4724210" y="1309307"/>
                  </a:lnTo>
                  <a:lnTo>
                    <a:pt x="4730115" y="1309307"/>
                  </a:lnTo>
                  <a:lnTo>
                    <a:pt x="4730115" y="1320070"/>
                  </a:lnTo>
                  <a:lnTo>
                    <a:pt x="4972241" y="1320070"/>
                  </a:lnTo>
                  <a:lnTo>
                    <a:pt x="4972241" y="1332357"/>
                  </a:lnTo>
                  <a:lnTo>
                    <a:pt x="4978051" y="1332357"/>
                  </a:lnTo>
                  <a:lnTo>
                    <a:pt x="4978051" y="1345216"/>
                  </a:lnTo>
                  <a:lnTo>
                    <a:pt x="5037297" y="1345216"/>
                  </a:lnTo>
                  <a:lnTo>
                    <a:pt x="5037297" y="1359694"/>
                  </a:lnTo>
                  <a:lnTo>
                    <a:pt x="5586318" y="1359694"/>
                  </a:lnTo>
                  <a:lnTo>
                    <a:pt x="5586318" y="1388745"/>
                  </a:lnTo>
                  <a:lnTo>
                    <a:pt x="5598224" y="1388745"/>
                  </a:lnTo>
                  <a:lnTo>
                    <a:pt x="5598224" y="1417701"/>
                  </a:lnTo>
                  <a:lnTo>
                    <a:pt x="5958269" y="1417701"/>
                  </a:lnTo>
                  <a:lnTo>
                    <a:pt x="5958269" y="1462564"/>
                  </a:lnTo>
                  <a:lnTo>
                    <a:pt x="6224016" y="1462564"/>
                  </a:lnTo>
                  <a:lnTo>
                    <a:pt x="6224016" y="1552194"/>
                  </a:lnTo>
                  <a:lnTo>
                    <a:pt x="7133463" y="1552194"/>
                  </a:lnTo>
                </a:path>
              </a:pathLst>
            </a:custGeom>
            <a:noFill/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11" name="Freeform: Shape 550">
              <a:extLst>
                <a:ext uri="{FF2B5EF4-FFF2-40B4-BE49-F238E27FC236}">
                  <a16:creationId xmlns:a16="http://schemas.microsoft.com/office/drawing/2014/main" id="{F7C61838-BB4A-9CD2-5D47-2007044A2EC9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12" name="Freeform: Shape 551">
              <a:extLst>
                <a:ext uri="{FF2B5EF4-FFF2-40B4-BE49-F238E27FC236}">
                  <a16:creationId xmlns:a16="http://schemas.microsoft.com/office/drawing/2014/main" id="{3EABF92C-641E-914F-FC81-AA7F673BA547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13" name="Freeform: Shape 552">
              <a:extLst>
                <a:ext uri="{FF2B5EF4-FFF2-40B4-BE49-F238E27FC236}">
                  <a16:creationId xmlns:a16="http://schemas.microsoft.com/office/drawing/2014/main" id="{9256AC11-E44C-61DC-43D1-4930FF5CFDD7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14" name="Freeform: Shape 553">
              <a:extLst>
                <a:ext uri="{FF2B5EF4-FFF2-40B4-BE49-F238E27FC236}">
                  <a16:creationId xmlns:a16="http://schemas.microsoft.com/office/drawing/2014/main" id="{4326EE4A-99FA-1CD8-29B2-EB5469741DFD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15" name="Freeform: Shape 554">
              <a:extLst>
                <a:ext uri="{FF2B5EF4-FFF2-40B4-BE49-F238E27FC236}">
                  <a16:creationId xmlns:a16="http://schemas.microsoft.com/office/drawing/2014/main" id="{3696E840-F578-20B5-97EA-3F045C3F0507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16" name="Freeform: Shape 555">
              <a:extLst>
                <a:ext uri="{FF2B5EF4-FFF2-40B4-BE49-F238E27FC236}">
                  <a16:creationId xmlns:a16="http://schemas.microsoft.com/office/drawing/2014/main" id="{6A90FE9F-EC61-914B-525D-5A5C202FB36E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17" name="Freeform: Shape 556">
              <a:extLst>
                <a:ext uri="{FF2B5EF4-FFF2-40B4-BE49-F238E27FC236}">
                  <a16:creationId xmlns:a16="http://schemas.microsoft.com/office/drawing/2014/main" id="{0B74DD9D-FC17-0741-07D7-8C4003896DE5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18" name="Freeform: Shape 557">
              <a:extLst>
                <a:ext uri="{FF2B5EF4-FFF2-40B4-BE49-F238E27FC236}">
                  <a16:creationId xmlns:a16="http://schemas.microsoft.com/office/drawing/2014/main" id="{E050200F-C901-D68B-D2C2-4B27EE6EC47E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19" name="Freeform: Shape 558">
              <a:extLst>
                <a:ext uri="{FF2B5EF4-FFF2-40B4-BE49-F238E27FC236}">
                  <a16:creationId xmlns:a16="http://schemas.microsoft.com/office/drawing/2014/main" id="{72D615C2-E707-7D17-FD57-A1D6CC8C2A70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20" name="Freeform: Shape 559">
              <a:extLst>
                <a:ext uri="{FF2B5EF4-FFF2-40B4-BE49-F238E27FC236}">
                  <a16:creationId xmlns:a16="http://schemas.microsoft.com/office/drawing/2014/main" id="{FCD94EA0-E93B-493A-D526-DA3BE705E629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21" name="Freeform: Shape 560">
              <a:extLst>
                <a:ext uri="{FF2B5EF4-FFF2-40B4-BE49-F238E27FC236}">
                  <a16:creationId xmlns:a16="http://schemas.microsoft.com/office/drawing/2014/main" id="{06D84D94-956A-2313-5EB1-04395B3D56CA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22" name="Freeform: Shape 561">
              <a:extLst>
                <a:ext uri="{FF2B5EF4-FFF2-40B4-BE49-F238E27FC236}">
                  <a16:creationId xmlns:a16="http://schemas.microsoft.com/office/drawing/2014/main" id="{602D6270-310A-5589-4035-E4A22C641F44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23" name="Freeform: Shape 562">
              <a:extLst>
                <a:ext uri="{FF2B5EF4-FFF2-40B4-BE49-F238E27FC236}">
                  <a16:creationId xmlns:a16="http://schemas.microsoft.com/office/drawing/2014/main" id="{5CE07620-389F-C16E-DAFB-AD83CF0E91E3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24" name="Freeform: Shape 563">
              <a:extLst>
                <a:ext uri="{FF2B5EF4-FFF2-40B4-BE49-F238E27FC236}">
                  <a16:creationId xmlns:a16="http://schemas.microsoft.com/office/drawing/2014/main" id="{03A61612-55C4-AD96-7022-5EEE02E59F60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25" name="Freeform: Shape 564">
              <a:extLst>
                <a:ext uri="{FF2B5EF4-FFF2-40B4-BE49-F238E27FC236}">
                  <a16:creationId xmlns:a16="http://schemas.microsoft.com/office/drawing/2014/main" id="{9E340258-1976-B9E4-2AE4-3736CFDDA596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26" name="Freeform: Shape 565">
              <a:extLst>
                <a:ext uri="{FF2B5EF4-FFF2-40B4-BE49-F238E27FC236}">
                  <a16:creationId xmlns:a16="http://schemas.microsoft.com/office/drawing/2014/main" id="{F2F91F04-7375-17A2-288A-0680FF7DCEDB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27" name="Freeform: Shape 566">
              <a:extLst>
                <a:ext uri="{FF2B5EF4-FFF2-40B4-BE49-F238E27FC236}">
                  <a16:creationId xmlns:a16="http://schemas.microsoft.com/office/drawing/2014/main" id="{F6F5FF78-B7AC-7878-9E86-5A9A95C87CF2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28" name="Freeform: Shape 567">
              <a:extLst>
                <a:ext uri="{FF2B5EF4-FFF2-40B4-BE49-F238E27FC236}">
                  <a16:creationId xmlns:a16="http://schemas.microsoft.com/office/drawing/2014/main" id="{5D907F7E-9CE1-035F-AD9C-A290DB3C9B47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29" name="Freeform: Shape 568">
              <a:extLst>
                <a:ext uri="{FF2B5EF4-FFF2-40B4-BE49-F238E27FC236}">
                  <a16:creationId xmlns:a16="http://schemas.microsoft.com/office/drawing/2014/main" id="{0531CA55-E2B8-343F-5047-759DE2CD77DA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30" name="Freeform: Shape 569">
              <a:extLst>
                <a:ext uri="{FF2B5EF4-FFF2-40B4-BE49-F238E27FC236}">
                  <a16:creationId xmlns:a16="http://schemas.microsoft.com/office/drawing/2014/main" id="{AB5C9653-74E5-1063-FA3D-9F809642FF38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31" name="Freeform: Shape 570">
              <a:extLst>
                <a:ext uri="{FF2B5EF4-FFF2-40B4-BE49-F238E27FC236}">
                  <a16:creationId xmlns:a16="http://schemas.microsoft.com/office/drawing/2014/main" id="{BEFDD34E-31C8-47D0-AAEC-3AAF39B80B46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32" name="Freeform: Shape 571">
              <a:extLst>
                <a:ext uri="{FF2B5EF4-FFF2-40B4-BE49-F238E27FC236}">
                  <a16:creationId xmlns:a16="http://schemas.microsoft.com/office/drawing/2014/main" id="{BBFA1385-B58F-4AB3-9222-3AE141205C4B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33" name="Freeform: Shape 572">
              <a:extLst>
                <a:ext uri="{FF2B5EF4-FFF2-40B4-BE49-F238E27FC236}">
                  <a16:creationId xmlns:a16="http://schemas.microsoft.com/office/drawing/2014/main" id="{F4ADD360-202E-3677-975C-90FF84CE2672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34" name="Freeform: Shape 573">
              <a:extLst>
                <a:ext uri="{FF2B5EF4-FFF2-40B4-BE49-F238E27FC236}">
                  <a16:creationId xmlns:a16="http://schemas.microsoft.com/office/drawing/2014/main" id="{B94CE064-EC84-BB60-BC3E-6FC594BBD4E2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35" name="Freeform: Shape 574">
              <a:extLst>
                <a:ext uri="{FF2B5EF4-FFF2-40B4-BE49-F238E27FC236}">
                  <a16:creationId xmlns:a16="http://schemas.microsoft.com/office/drawing/2014/main" id="{13FDE225-9728-765C-9E53-CFA99C89A4EA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36" name="Freeform: Shape 575">
              <a:extLst>
                <a:ext uri="{FF2B5EF4-FFF2-40B4-BE49-F238E27FC236}">
                  <a16:creationId xmlns:a16="http://schemas.microsoft.com/office/drawing/2014/main" id="{46CC05EC-3715-092B-7FB2-227818B59641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37" name="Freeform: Shape 576">
              <a:extLst>
                <a:ext uri="{FF2B5EF4-FFF2-40B4-BE49-F238E27FC236}">
                  <a16:creationId xmlns:a16="http://schemas.microsoft.com/office/drawing/2014/main" id="{8ACD7213-8779-5D5E-77DC-0DB195A6ECC1}"/>
                </a:ext>
              </a:extLst>
            </p:cNvPr>
            <p:cNvSpPr/>
            <p:nvPr/>
          </p:nvSpPr>
          <p:spPr>
            <a:xfrm>
              <a:off x="4329382" y="-2448502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38" name="Freeform: Shape 577">
              <a:extLst>
                <a:ext uri="{FF2B5EF4-FFF2-40B4-BE49-F238E27FC236}">
                  <a16:creationId xmlns:a16="http://schemas.microsoft.com/office/drawing/2014/main" id="{A382DB49-3D3C-D6E6-ACF7-B835185234A8}"/>
                </a:ext>
              </a:extLst>
            </p:cNvPr>
            <p:cNvSpPr/>
            <p:nvPr/>
          </p:nvSpPr>
          <p:spPr>
            <a:xfrm>
              <a:off x="4385389" y="-2482792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39" name="Freeform: Shape 578">
              <a:extLst>
                <a:ext uri="{FF2B5EF4-FFF2-40B4-BE49-F238E27FC236}">
                  <a16:creationId xmlns:a16="http://schemas.microsoft.com/office/drawing/2014/main" id="{B556950A-4FEA-5C75-315F-6F74BD1380E7}"/>
                </a:ext>
              </a:extLst>
            </p:cNvPr>
            <p:cNvSpPr/>
            <p:nvPr/>
          </p:nvSpPr>
          <p:spPr>
            <a:xfrm>
              <a:off x="4583128" y="-230448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40" name="Freeform: Shape 579">
              <a:extLst>
                <a:ext uri="{FF2B5EF4-FFF2-40B4-BE49-F238E27FC236}">
                  <a16:creationId xmlns:a16="http://schemas.microsoft.com/office/drawing/2014/main" id="{C7DB851E-8361-7245-1672-2BB1B0E5C30D}"/>
                </a:ext>
              </a:extLst>
            </p:cNvPr>
            <p:cNvSpPr/>
            <p:nvPr/>
          </p:nvSpPr>
          <p:spPr>
            <a:xfrm>
              <a:off x="4639135" y="-2339917"/>
              <a:ext cx="9525" cy="70866"/>
            </a:xfrm>
            <a:custGeom>
              <a:avLst/>
              <a:gdLst>
                <a:gd name="connsiteX0" fmla="*/ 0 w 9525"/>
                <a:gd name="connsiteY0" fmla="*/ 0 h 70866"/>
                <a:gd name="connsiteX1" fmla="*/ 0 w 9525"/>
                <a:gd name="connsiteY1" fmla="*/ 70866 h 7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6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41" name="Freeform: Shape 580">
              <a:extLst>
                <a:ext uri="{FF2B5EF4-FFF2-40B4-BE49-F238E27FC236}">
                  <a16:creationId xmlns:a16="http://schemas.microsoft.com/office/drawing/2014/main" id="{2830BC56-9E4E-9A51-2D8B-FD99741A9C25}"/>
                </a:ext>
              </a:extLst>
            </p:cNvPr>
            <p:cNvSpPr/>
            <p:nvPr/>
          </p:nvSpPr>
          <p:spPr>
            <a:xfrm>
              <a:off x="4583128" y="-230448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42" name="Freeform: Shape 581">
              <a:extLst>
                <a:ext uri="{FF2B5EF4-FFF2-40B4-BE49-F238E27FC236}">
                  <a16:creationId xmlns:a16="http://schemas.microsoft.com/office/drawing/2014/main" id="{E1313F3A-0C54-EA6E-064F-A34CF6C2F7BA}"/>
                </a:ext>
              </a:extLst>
            </p:cNvPr>
            <p:cNvSpPr/>
            <p:nvPr/>
          </p:nvSpPr>
          <p:spPr>
            <a:xfrm>
              <a:off x="4639135" y="-2339917"/>
              <a:ext cx="9525" cy="70866"/>
            </a:xfrm>
            <a:custGeom>
              <a:avLst/>
              <a:gdLst>
                <a:gd name="connsiteX0" fmla="*/ 0 w 9525"/>
                <a:gd name="connsiteY0" fmla="*/ 0 h 70866"/>
                <a:gd name="connsiteX1" fmla="*/ 0 w 9525"/>
                <a:gd name="connsiteY1" fmla="*/ 70866 h 70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6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43" name="Freeform: Shape 582">
              <a:extLst>
                <a:ext uri="{FF2B5EF4-FFF2-40B4-BE49-F238E27FC236}">
                  <a16:creationId xmlns:a16="http://schemas.microsoft.com/office/drawing/2014/main" id="{45630295-5307-B4E3-46A9-F1812D05B285}"/>
                </a:ext>
              </a:extLst>
            </p:cNvPr>
            <p:cNvSpPr/>
            <p:nvPr/>
          </p:nvSpPr>
          <p:spPr>
            <a:xfrm>
              <a:off x="4629991" y="-228048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44" name="Freeform: Shape 583">
              <a:extLst>
                <a:ext uri="{FF2B5EF4-FFF2-40B4-BE49-F238E27FC236}">
                  <a16:creationId xmlns:a16="http://schemas.microsoft.com/office/drawing/2014/main" id="{D2FECA1E-D9B0-15F8-7696-D6772C668954}"/>
                </a:ext>
              </a:extLst>
            </p:cNvPr>
            <p:cNvSpPr/>
            <p:nvPr/>
          </p:nvSpPr>
          <p:spPr>
            <a:xfrm>
              <a:off x="4685998" y="-231477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45" name="Freeform: Shape 584">
              <a:extLst>
                <a:ext uri="{FF2B5EF4-FFF2-40B4-BE49-F238E27FC236}">
                  <a16:creationId xmlns:a16="http://schemas.microsoft.com/office/drawing/2014/main" id="{02FD8008-6E6E-B3C9-7C6A-1356CD92A139}"/>
                </a:ext>
              </a:extLst>
            </p:cNvPr>
            <p:cNvSpPr/>
            <p:nvPr/>
          </p:nvSpPr>
          <p:spPr>
            <a:xfrm>
              <a:off x="4706572" y="-2264479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46" name="Freeform: Shape 585">
              <a:extLst>
                <a:ext uri="{FF2B5EF4-FFF2-40B4-BE49-F238E27FC236}">
                  <a16:creationId xmlns:a16="http://schemas.microsoft.com/office/drawing/2014/main" id="{D999F206-450E-7C18-4920-DAD1CA2F61E2}"/>
                </a:ext>
              </a:extLst>
            </p:cNvPr>
            <p:cNvSpPr/>
            <p:nvPr/>
          </p:nvSpPr>
          <p:spPr>
            <a:xfrm>
              <a:off x="4762579" y="-229876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47" name="Freeform: Shape 586">
              <a:extLst>
                <a:ext uri="{FF2B5EF4-FFF2-40B4-BE49-F238E27FC236}">
                  <a16:creationId xmlns:a16="http://schemas.microsoft.com/office/drawing/2014/main" id="{80AFD530-E266-E517-28DC-9D9451119833}"/>
                </a:ext>
              </a:extLst>
            </p:cNvPr>
            <p:cNvSpPr/>
            <p:nvPr/>
          </p:nvSpPr>
          <p:spPr>
            <a:xfrm>
              <a:off x="4760293" y="-224733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48" name="Freeform: Shape 587">
              <a:extLst>
                <a:ext uri="{FF2B5EF4-FFF2-40B4-BE49-F238E27FC236}">
                  <a16:creationId xmlns:a16="http://schemas.microsoft.com/office/drawing/2014/main" id="{1CB3CF12-2232-D5B2-D295-D1D89198D739}"/>
                </a:ext>
              </a:extLst>
            </p:cNvPr>
            <p:cNvSpPr/>
            <p:nvPr/>
          </p:nvSpPr>
          <p:spPr>
            <a:xfrm>
              <a:off x="4816300" y="-228276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49" name="Freeform: Shape 588">
              <a:extLst>
                <a:ext uri="{FF2B5EF4-FFF2-40B4-BE49-F238E27FC236}">
                  <a16:creationId xmlns:a16="http://schemas.microsoft.com/office/drawing/2014/main" id="{798E42C2-56E5-D612-849C-BE52AEA615CB}"/>
                </a:ext>
              </a:extLst>
            </p:cNvPr>
            <p:cNvSpPr/>
            <p:nvPr/>
          </p:nvSpPr>
          <p:spPr>
            <a:xfrm>
              <a:off x="4872307" y="-2207329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50" name="Freeform: Shape 589">
              <a:extLst>
                <a:ext uri="{FF2B5EF4-FFF2-40B4-BE49-F238E27FC236}">
                  <a16:creationId xmlns:a16="http://schemas.microsoft.com/office/drawing/2014/main" id="{7A8764A4-B283-4C4C-8776-9850B7FC224B}"/>
                </a:ext>
              </a:extLst>
            </p:cNvPr>
            <p:cNvSpPr/>
            <p:nvPr/>
          </p:nvSpPr>
          <p:spPr>
            <a:xfrm>
              <a:off x="4928314" y="-224161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51" name="Freeform: Shape 590">
              <a:extLst>
                <a:ext uri="{FF2B5EF4-FFF2-40B4-BE49-F238E27FC236}">
                  <a16:creationId xmlns:a16="http://schemas.microsoft.com/office/drawing/2014/main" id="{BAC30AFF-40C2-4176-9934-E59D3A8A43A8}"/>
                </a:ext>
              </a:extLst>
            </p:cNvPr>
            <p:cNvSpPr/>
            <p:nvPr/>
          </p:nvSpPr>
          <p:spPr>
            <a:xfrm>
              <a:off x="4872307" y="-2207329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52" name="Freeform: Shape 591">
              <a:extLst>
                <a:ext uri="{FF2B5EF4-FFF2-40B4-BE49-F238E27FC236}">
                  <a16:creationId xmlns:a16="http://schemas.microsoft.com/office/drawing/2014/main" id="{3B427FCC-9A28-9981-F0D3-EC2D4884480B}"/>
                </a:ext>
              </a:extLst>
            </p:cNvPr>
            <p:cNvSpPr/>
            <p:nvPr/>
          </p:nvSpPr>
          <p:spPr>
            <a:xfrm>
              <a:off x="4928314" y="-224161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53" name="Freeform: Shape 592">
              <a:extLst>
                <a:ext uri="{FF2B5EF4-FFF2-40B4-BE49-F238E27FC236}">
                  <a16:creationId xmlns:a16="http://schemas.microsoft.com/office/drawing/2014/main" id="{BC278F60-EB76-E082-C1B3-8D61F1CC6DEE}"/>
                </a:ext>
              </a:extLst>
            </p:cNvPr>
            <p:cNvSpPr/>
            <p:nvPr/>
          </p:nvSpPr>
          <p:spPr>
            <a:xfrm>
              <a:off x="4907740" y="-2207329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54" name="Freeform: Shape 593">
              <a:extLst>
                <a:ext uri="{FF2B5EF4-FFF2-40B4-BE49-F238E27FC236}">
                  <a16:creationId xmlns:a16="http://schemas.microsoft.com/office/drawing/2014/main" id="{019886B2-3236-0254-F13B-93804693CD33}"/>
                </a:ext>
              </a:extLst>
            </p:cNvPr>
            <p:cNvSpPr/>
            <p:nvPr/>
          </p:nvSpPr>
          <p:spPr>
            <a:xfrm>
              <a:off x="4963747" y="-224161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55" name="Freeform: Shape 594">
              <a:extLst>
                <a:ext uri="{FF2B5EF4-FFF2-40B4-BE49-F238E27FC236}">
                  <a16:creationId xmlns:a16="http://schemas.microsoft.com/office/drawing/2014/main" id="{05A599A0-8477-A043-4431-0D1AB9D914D1}"/>
                </a:ext>
              </a:extLst>
            </p:cNvPr>
            <p:cNvSpPr/>
            <p:nvPr/>
          </p:nvSpPr>
          <p:spPr>
            <a:xfrm>
              <a:off x="5090620" y="-2107888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56" name="Freeform: Shape 595">
              <a:extLst>
                <a:ext uri="{FF2B5EF4-FFF2-40B4-BE49-F238E27FC236}">
                  <a16:creationId xmlns:a16="http://schemas.microsoft.com/office/drawing/2014/main" id="{A435CE1B-347D-EFAE-15B4-9461A62890FB}"/>
                </a:ext>
              </a:extLst>
            </p:cNvPr>
            <p:cNvSpPr/>
            <p:nvPr/>
          </p:nvSpPr>
          <p:spPr>
            <a:xfrm>
              <a:off x="5146627" y="-2142178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57" name="Freeform: Shape 596">
              <a:extLst>
                <a:ext uri="{FF2B5EF4-FFF2-40B4-BE49-F238E27FC236}">
                  <a16:creationId xmlns:a16="http://schemas.microsoft.com/office/drawing/2014/main" id="{5FEB3316-410A-CD84-1DF6-BEB318A0CE6D}"/>
                </a:ext>
              </a:extLst>
            </p:cNvPr>
            <p:cNvSpPr/>
            <p:nvPr/>
          </p:nvSpPr>
          <p:spPr>
            <a:xfrm>
              <a:off x="5315791" y="-2032450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58" name="Freeform: Shape 597">
              <a:extLst>
                <a:ext uri="{FF2B5EF4-FFF2-40B4-BE49-F238E27FC236}">
                  <a16:creationId xmlns:a16="http://schemas.microsoft.com/office/drawing/2014/main" id="{3F3BEBC3-1EC3-49DF-A17D-A534DB1E62DF}"/>
                </a:ext>
              </a:extLst>
            </p:cNvPr>
            <p:cNvSpPr/>
            <p:nvPr/>
          </p:nvSpPr>
          <p:spPr>
            <a:xfrm>
              <a:off x="5370655" y="-2066740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59" name="Freeform: Shape 598">
              <a:extLst>
                <a:ext uri="{FF2B5EF4-FFF2-40B4-BE49-F238E27FC236}">
                  <a16:creationId xmlns:a16="http://schemas.microsoft.com/office/drawing/2014/main" id="{F7F971AA-CEA9-5C6F-1767-24D3A5A68099}"/>
                </a:ext>
              </a:extLst>
            </p:cNvPr>
            <p:cNvSpPr/>
            <p:nvPr/>
          </p:nvSpPr>
          <p:spPr>
            <a:xfrm>
              <a:off x="5427805" y="-1998160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60" name="Freeform: Shape 599">
              <a:extLst>
                <a:ext uri="{FF2B5EF4-FFF2-40B4-BE49-F238E27FC236}">
                  <a16:creationId xmlns:a16="http://schemas.microsoft.com/office/drawing/2014/main" id="{DAB8455F-15F5-C365-B2E5-1792B969D233}"/>
                </a:ext>
              </a:extLst>
            </p:cNvPr>
            <p:cNvSpPr/>
            <p:nvPr/>
          </p:nvSpPr>
          <p:spPr>
            <a:xfrm>
              <a:off x="5483812" y="-2033593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61" name="Freeform: Shape 600">
              <a:extLst>
                <a:ext uri="{FF2B5EF4-FFF2-40B4-BE49-F238E27FC236}">
                  <a16:creationId xmlns:a16="http://schemas.microsoft.com/office/drawing/2014/main" id="{7C489DA9-2643-8483-C4B2-56173CFB4DD8}"/>
                </a:ext>
              </a:extLst>
            </p:cNvPr>
            <p:cNvSpPr/>
            <p:nvPr/>
          </p:nvSpPr>
          <p:spPr>
            <a:xfrm>
              <a:off x="5433520" y="-1998160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62" name="Freeform: Shape 601">
              <a:extLst>
                <a:ext uri="{FF2B5EF4-FFF2-40B4-BE49-F238E27FC236}">
                  <a16:creationId xmlns:a16="http://schemas.microsoft.com/office/drawing/2014/main" id="{A413E0FC-23FC-4215-55AA-0A044066B276}"/>
                </a:ext>
              </a:extLst>
            </p:cNvPr>
            <p:cNvSpPr/>
            <p:nvPr/>
          </p:nvSpPr>
          <p:spPr>
            <a:xfrm>
              <a:off x="5489527" y="-2033593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63" name="Freeform: Shape 602">
              <a:extLst>
                <a:ext uri="{FF2B5EF4-FFF2-40B4-BE49-F238E27FC236}">
                  <a16:creationId xmlns:a16="http://schemas.microsoft.com/office/drawing/2014/main" id="{7A0972A1-7F0F-E99D-AEB2-45B949959A62}"/>
                </a:ext>
              </a:extLst>
            </p:cNvPr>
            <p:cNvSpPr/>
            <p:nvPr/>
          </p:nvSpPr>
          <p:spPr>
            <a:xfrm>
              <a:off x="5580967" y="-186328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64" name="Freeform: Shape 603">
              <a:extLst>
                <a:ext uri="{FF2B5EF4-FFF2-40B4-BE49-F238E27FC236}">
                  <a16:creationId xmlns:a16="http://schemas.microsoft.com/office/drawing/2014/main" id="{C93E4A96-C10C-CD51-28C6-D8BD7F0741B9}"/>
                </a:ext>
              </a:extLst>
            </p:cNvPr>
            <p:cNvSpPr/>
            <p:nvPr/>
          </p:nvSpPr>
          <p:spPr>
            <a:xfrm>
              <a:off x="5636974" y="-1897576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65" name="Freeform: Shape 604">
              <a:extLst>
                <a:ext uri="{FF2B5EF4-FFF2-40B4-BE49-F238E27FC236}">
                  <a16:creationId xmlns:a16="http://schemas.microsoft.com/office/drawing/2014/main" id="{D84937C6-B05A-7AD4-66E8-79E0D88F19A8}"/>
                </a:ext>
              </a:extLst>
            </p:cNvPr>
            <p:cNvSpPr/>
            <p:nvPr/>
          </p:nvSpPr>
          <p:spPr>
            <a:xfrm>
              <a:off x="5651833" y="-185414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66" name="Freeform: Shape 605">
              <a:extLst>
                <a:ext uri="{FF2B5EF4-FFF2-40B4-BE49-F238E27FC236}">
                  <a16:creationId xmlns:a16="http://schemas.microsoft.com/office/drawing/2014/main" id="{C62E4F9C-ACB5-7ABF-20AA-B09026F9B4AC}"/>
                </a:ext>
              </a:extLst>
            </p:cNvPr>
            <p:cNvSpPr/>
            <p:nvPr/>
          </p:nvSpPr>
          <p:spPr>
            <a:xfrm>
              <a:off x="5707840" y="-188957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67" name="Freeform: Shape 606">
              <a:extLst>
                <a:ext uri="{FF2B5EF4-FFF2-40B4-BE49-F238E27FC236}">
                  <a16:creationId xmlns:a16="http://schemas.microsoft.com/office/drawing/2014/main" id="{E09DE7DD-C752-EEFC-6C2B-6A64E8A74B0A}"/>
                </a:ext>
              </a:extLst>
            </p:cNvPr>
            <p:cNvSpPr/>
            <p:nvPr/>
          </p:nvSpPr>
          <p:spPr>
            <a:xfrm>
              <a:off x="5698696" y="-1844998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68" name="Freeform: Shape 607">
              <a:extLst>
                <a:ext uri="{FF2B5EF4-FFF2-40B4-BE49-F238E27FC236}">
                  <a16:creationId xmlns:a16="http://schemas.microsoft.com/office/drawing/2014/main" id="{55E3AE3D-70D8-1159-83B1-2A40EE322621}"/>
                </a:ext>
              </a:extLst>
            </p:cNvPr>
            <p:cNvSpPr/>
            <p:nvPr/>
          </p:nvSpPr>
          <p:spPr>
            <a:xfrm>
              <a:off x="5754703" y="-18804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69" name="Freeform: Shape 608">
              <a:extLst>
                <a:ext uri="{FF2B5EF4-FFF2-40B4-BE49-F238E27FC236}">
                  <a16:creationId xmlns:a16="http://schemas.microsoft.com/office/drawing/2014/main" id="{77E6A40B-7D23-A290-D1B6-80240835A6DF}"/>
                </a:ext>
              </a:extLst>
            </p:cNvPr>
            <p:cNvSpPr/>
            <p:nvPr/>
          </p:nvSpPr>
          <p:spPr>
            <a:xfrm>
              <a:off x="5705554" y="-1844998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70" name="Freeform: Shape 609">
              <a:extLst>
                <a:ext uri="{FF2B5EF4-FFF2-40B4-BE49-F238E27FC236}">
                  <a16:creationId xmlns:a16="http://schemas.microsoft.com/office/drawing/2014/main" id="{65004011-F3C3-B7B5-E1CE-12C63820604D}"/>
                </a:ext>
              </a:extLst>
            </p:cNvPr>
            <p:cNvSpPr/>
            <p:nvPr/>
          </p:nvSpPr>
          <p:spPr>
            <a:xfrm>
              <a:off x="5760418" y="-1880431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71" name="Freeform: Shape 610">
              <a:extLst>
                <a:ext uri="{FF2B5EF4-FFF2-40B4-BE49-F238E27FC236}">
                  <a16:creationId xmlns:a16="http://schemas.microsoft.com/office/drawing/2014/main" id="{9513EAAF-611F-FA59-0B8F-2E5ED4326C59}"/>
                </a:ext>
              </a:extLst>
            </p:cNvPr>
            <p:cNvSpPr/>
            <p:nvPr/>
          </p:nvSpPr>
          <p:spPr>
            <a:xfrm>
              <a:off x="5853001" y="-1793563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72" name="Freeform: Shape 611">
              <a:extLst>
                <a:ext uri="{FF2B5EF4-FFF2-40B4-BE49-F238E27FC236}">
                  <a16:creationId xmlns:a16="http://schemas.microsoft.com/office/drawing/2014/main" id="{B67753E9-78E5-940B-C105-07CBB0532EDF}"/>
                </a:ext>
              </a:extLst>
            </p:cNvPr>
            <p:cNvSpPr/>
            <p:nvPr/>
          </p:nvSpPr>
          <p:spPr>
            <a:xfrm>
              <a:off x="5909008" y="-1827853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73" name="Freeform: Shape 612">
              <a:extLst>
                <a:ext uri="{FF2B5EF4-FFF2-40B4-BE49-F238E27FC236}">
                  <a16:creationId xmlns:a16="http://schemas.microsoft.com/office/drawing/2014/main" id="{400E2207-1EFB-D6FE-A27F-F7D81B197BC5}"/>
                </a:ext>
              </a:extLst>
            </p:cNvPr>
            <p:cNvSpPr/>
            <p:nvPr/>
          </p:nvSpPr>
          <p:spPr>
            <a:xfrm>
              <a:off x="6183328" y="-1688407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74" name="Freeform: Shape 613">
              <a:extLst>
                <a:ext uri="{FF2B5EF4-FFF2-40B4-BE49-F238E27FC236}">
                  <a16:creationId xmlns:a16="http://schemas.microsoft.com/office/drawing/2014/main" id="{6E917278-3860-9B0E-6FDD-A3B7F645AB69}"/>
                </a:ext>
              </a:extLst>
            </p:cNvPr>
            <p:cNvSpPr/>
            <p:nvPr/>
          </p:nvSpPr>
          <p:spPr>
            <a:xfrm>
              <a:off x="6239335" y="-1722697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75" name="Freeform: Shape 614">
              <a:extLst>
                <a:ext uri="{FF2B5EF4-FFF2-40B4-BE49-F238E27FC236}">
                  <a16:creationId xmlns:a16="http://schemas.microsoft.com/office/drawing/2014/main" id="{F6B3ED64-C59B-5E7F-3F74-417A2DB77D7D}"/>
                </a:ext>
              </a:extLst>
            </p:cNvPr>
            <p:cNvSpPr/>
            <p:nvPr/>
          </p:nvSpPr>
          <p:spPr>
            <a:xfrm>
              <a:off x="6655387" y="-149295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76" name="Freeform: Shape 615">
              <a:extLst>
                <a:ext uri="{FF2B5EF4-FFF2-40B4-BE49-F238E27FC236}">
                  <a16:creationId xmlns:a16="http://schemas.microsoft.com/office/drawing/2014/main" id="{0A25C0FC-069F-CC34-7A19-2602D75292CA}"/>
                </a:ext>
              </a:extLst>
            </p:cNvPr>
            <p:cNvSpPr/>
            <p:nvPr/>
          </p:nvSpPr>
          <p:spPr>
            <a:xfrm>
              <a:off x="6711394" y="-152838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77" name="Freeform: Shape 616">
              <a:extLst>
                <a:ext uri="{FF2B5EF4-FFF2-40B4-BE49-F238E27FC236}">
                  <a16:creationId xmlns:a16="http://schemas.microsoft.com/office/drawing/2014/main" id="{6AA9EF5B-0F72-5D31-B13D-DDD6CC868F69}"/>
                </a:ext>
              </a:extLst>
            </p:cNvPr>
            <p:cNvSpPr/>
            <p:nvPr/>
          </p:nvSpPr>
          <p:spPr>
            <a:xfrm>
              <a:off x="6703393" y="-149295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78" name="Freeform: Shape 617">
              <a:extLst>
                <a:ext uri="{FF2B5EF4-FFF2-40B4-BE49-F238E27FC236}">
                  <a16:creationId xmlns:a16="http://schemas.microsoft.com/office/drawing/2014/main" id="{086F0CDF-E177-10B1-A8D1-55035CA037BF}"/>
                </a:ext>
              </a:extLst>
            </p:cNvPr>
            <p:cNvSpPr/>
            <p:nvPr/>
          </p:nvSpPr>
          <p:spPr>
            <a:xfrm>
              <a:off x="6759400" y="-152838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79" name="Freeform: Shape 618">
              <a:extLst>
                <a:ext uri="{FF2B5EF4-FFF2-40B4-BE49-F238E27FC236}">
                  <a16:creationId xmlns:a16="http://schemas.microsoft.com/office/drawing/2014/main" id="{87925D8C-8AB2-4157-40B3-D905D4A42D6C}"/>
                </a:ext>
              </a:extLst>
            </p:cNvPr>
            <p:cNvSpPr/>
            <p:nvPr/>
          </p:nvSpPr>
          <p:spPr>
            <a:xfrm>
              <a:off x="6951424" y="-1439233"/>
              <a:ext cx="110871" cy="9525"/>
            </a:xfrm>
            <a:custGeom>
              <a:avLst/>
              <a:gdLst>
                <a:gd name="connsiteX0" fmla="*/ 0 w 110871"/>
                <a:gd name="connsiteY0" fmla="*/ 0 h 9525"/>
                <a:gd name="connsiteX1" fmla="*/ 110871 w 11087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1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80" name="Freeform: Shape 619">
              <a:extLst>
                <a:ext uri="{FF2B5EF4-FFF2-40B4-BE49-F238E27FC236}">
                  <a16:creationId xmlns:a16="http://schemas.microsoft.com/office/drawing/2014/main" id="{E00B9721-F330-A947-9507-25D3ED428B41}"/>
                </a:ext>
              </a:extLst>
            </p:cNvPr>
            <p:cNvSpPr/>
            <p:nvPr/>
          </p:nvSpPr>
          <p:spPr>
            <a:xfrm>
              <a:off x="7007431" y="-1474666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81" name="Freeform: Shape 620">
              <a:extLst>
                <a:ext uri="{FF2B5EF4-FFF2-40B4-BE49-F238E27FC236}">
                  <a16:creationId xmlns:a16="http://schemas.microsoft.com/office/drawing/2014/main" id="{9AFA8F3F-E6A9-A668-E0FB-F5B0AA06C496}"/>
                </a:ext>
              </a:extLst>
            </p:cNvPr>
            <p:cNvSpPr/>
            <p:nvPr/>
          </p:nvSpPr>
          <p:spPr>
            <a:xfrm>
              <a:off x="7145734" y="-142094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82" name="Freeform: Shape 621">
              <a:extLst>
                <a:ext uri="{FF2B5EF4-FFF2-40B4-BE49-F238E27FC236}">
                  <a16:creationId xmlns:a16="http://schemas.microsoft.com/office/drawing/2014/main" id="{5745EBC1-7E2C-2B03-E2AF-2192614EAEAA}"/>
                </a:ext>
              </a:extLst>
            </p:cNvPr>
            <p:cNvSpPr/>
            <p:nvPr/>
          </p:nvSpPr>
          <p:spPr>
            <a:xfrm>
              <a:off x="7201741" y="-1456378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83" name="Freeform: Shape 622">
              <a:extLst>
                <a:ext uri="{FF2B5EF4-FFF2-40B4-BE49-F238E27FC236}">
                  <a16:creationId xmlns:a16="http://schemas.microsoft.com/office/drawing/2014/main" id="{8F350DC3-E397-563D-FB49-A6280D30C70C}"/>
                </a:ext>
              </a:extLst>
            </p:cNvPr>
            <p:cNvSpPr/>
            <p:nvPr/>
          </p:nvSpPr>
          <p:spPr>
            <a:xfrm>
              <a:off x="7164022" y="-142094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84" name="Freeform: Shape 623">
              <a:extLst>
                <a:ext uri="{FF2B5EF4-FFF2-40B4-BE49-F238E27FC236}">
                  <a16:creationId xmlns:a16="http://schemas.microsoft.com/office/drawing/2014/main" id="{2956348B-91F1-908A-2731-1AE5D1F36844}"/>
                </a:ext>
              </a:extLst>
            </p:cNvPr>
            <p:cNvSpPr/>
            <p:nvPr/>
          </p:nvSpPr>
          <p:spPr>
            <a:xfrm>
              <a:off x="7220029" y="-1456378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85" name="Freeform: Shape 624">
              <a:extLst>
                <a:ext uri="{FF2B5EF4-FFF2-40B4-BE49-F238E27FC236}">
                  <a16:creationId xmlns:a16="http://schemas.microsoft.com/office/drawing/2014/main" id="{380BBE19-758F-2088-AB91-04B8FB1CBEA0}"/>
                </a:ext>
              </a:extLst>
            </p:cNvPr>
            <p:cNvSpPr/>
            <p:nvPr/>
          </p:nvSpPr>
          <p:spPr>
            <a:xfrm>
              <a:off x="7186882" y="-142094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86" name="Freeform: Shape 625">
              <a:extLst>
                <a:ext uri="{FF2B5EF4-FFF2-40B4-BE49-F238E27FC236}">
                  <a16:creationId xmlns:a16="http://schemas.microsoft.com/office/drawing/2014/main" id="{3B4C2A61-74B6-A960-AFDE-E1DCF3CA0758}"/>
                </a:ext>
              </a:extLst>
            </p:cNvPr>
            <p:cNvSpPr/>
            <p:nvPr/>
          </p:nvSpPr>
          <p:spPr>
            <a:xfrm>
              <a:off x="7242889" y="-1456378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87" name="Freeform: Shape 626">
              <a:extLst>
                <a:ext uri="{FF2B5EF4-FFF2-40B4-BE49-F238E27FC236}">
                  <a16:creationId xmlns:a16="http://schemas.microsoft.com/office/drawing/2014/main" id="{01123171-7AA5-E361-F4B0-71908261E8DF}"/>
                </a:ext>
              </a:extLst>
            </p:cNvPr>
            <p:cNvSpPr/>
            <p:nvPr/>
          </p:nvSpPr>
          <p:spPr>
            <a:xfrm>
              <a:off x="7712662" y="-130893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88" name="Freeform: Shape 627">
              <a:extLst>
                <a:ext uri="{FF2B5EF4-FFF2-40B4-BE49-F238E27FC236}">
                  <a16:creationId xmlns:a16="http://schemas.microsoft.com/office/drawing/2014/main" id="{02E2FE38-09A6-FA22-E274-733DC9CC7787}"/>
                </a:ext>
              </a:extLst>
            </p:cNvPr>
            <p:cNvSpPr/>
            <p:nvPr/>
          </p:nvSpPr>
          <p:spPr>
            <a:xfrm>
              <a:off x="7768669" y="-1343221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89" name="Freeform: Shape 628">
              <a:extLst>
                <a:ext uri="{FF2B5EF4-FFF2-40B4-BE49-F238E27FC236}">
                  <a16:creationId xmlns:a16="http://schemas.microsoft.com/office/drawing/2014/main" id="{4602B901-FA48-D1B0-41BC-A779B2A09DD5}"/>
                </a:ext>
              </a:extLst>
            </p:cNvPr>
            <p:cNvSpPr/>
            <p:nvPr/>
          </p:nvSpPr>
          <p:spPr>
            <a:xfrm>
              <a:off x="7730950" y="-1308931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90" name="Freeform: Shape 629">
              <a:extLst>
                <a:ext uri="{FF2B5EF4-FFF2-40B4-BE49-F238E27FC236}">
                  <a16:creationId xmlns:a16="http://schemas.microsoft.com/office/drawing/2014/main" id="{B1CD9C3E-2F5B-F775-3D6E-9C7553A66FDF}"/>
                </a:ext>
              </a:extLst>
            </p:cNvPr>
            <p:cNvSpPr/>
            <p:nvPr/>
          </p:nvSpPr>
          <p:spPr>
            <a:xfrm>
              <a:off x="7786957" y="-1343221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91" name="Freeform: Shape 630">
              <a:extLst>
                <a:ext uri="{FF2B5EF4-FFF2-40B4-BE49-F238E27FC236}">
                  <a16:creationId xmlns:a16="http://schemas.microsoft.com/office/drawing/2014/main" id="{AD93AF06-6CEC-44C3-75EC-E9C19C3B527D}"/>
                </a:ext>
              </a:extLst>
            </p:cNvPr>
            <p:cNvSpPr/>
            <p:nvPr/>
          </p:nvSpPr>
          <p:spPr>
            <a:xfrm>
              <a:off x="7984696" y="-1270069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92" name="Freeform: Shape 631">
              <a:extLst>
                <a:ext uri="{FF2B5EF4-FFF2-40B4-BE49-F238E27FC236}">
                  <a16:creationId xmlns:a16="http://schemas.microsoft.com/office/drawing/2014/main" id="{AAC9B4A9-D5D5-6078-CC9D-F5FB7017FC7C}"/>
                </a:ext>
              </a:extLst>
            </p:cNvPr>
            <p:cNvSpPr/>
            <p:nvPr/>
          </p:nvSpPr>
          <p:spPr>
            <a:xfrm>
              <a:off x="8040703" y="-1304359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93" name="Freeform: Shape 632">
              <a:extLst>
                <a:ext uri="{FF2B5EF4-FFF2-40B4-BE49-F238E27FC236}">
                  <a16:creationId xmlns:a16="http://schemas.microsoft.com/office/drawing/2014/main" id="{3FD664C9-0477-7533-1E25-673EF5B73762}"/>
                </a:ext>
              </a:extLst>
            </p:cNvPr>
            <p:cNvSpPr/>
            <p:nvPr/>
          </p:nvSpPr>
          <p:spPr>
            <a:xfrm>
              <a:off x="8072707" y="-125978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94" name="Freeform: Shape 633">
              <a:extLst>
                <a:ext uri="{FF2B5EF4-FFF2-40B4-BE49-F238E27FC236}">
                  <a16:creationId xmlns:a16="http://schemas.microsoft.com/office/drawing/2014/main" id="{B19B2E62-102C-2786-1377-899BF3747BD4}"/>
                </a:ext>
              </a:extLst>
            </p:cNvPr>
            <p:cNvSpPr/>
            <p:nvPr/>
          </p:nvSpPr>
          <p:spPr>
            <a:xfrm>
              <a:off x="8128714" y="-129521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95" name="Freeform: Shape 634">
              <a:extLst>
                <a:ext uri="{FF2B5EF4-FFF2-40B4-BE49-F238E27FC236}">
                  <a16:creationId xmlns:a16="http://schemas.microsoft.com/office/drawing/2014/main" id="{1880A89B-C117-302E-68EA-2CF32B9ABEC4}"/>
                </a:ext>
              </a:extLst>
            </p:cNvPr>
            <p:cNvSpPr/>
            <p:nvPr/>
          </p:nvSpPr>
          <p:spPr>
            <a:xfrm>
              <a:off x="8497903" y="-1200346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96" name="Freeform: Shape 635">
              <a:extLst>
                <a:ext uri="{FF2B5EF4-FFF2-40B4-BE49-F238E27FC236}">
                  <a16:creationId xmlns:a16="http://schemas.microsoft.com/office/drawing/2014/main" id="{BA119394-D1AA-1F3A-7694-88D61B95BEA7}"/>
                </a:ext>
              </a:extLst>
            </p:cNvPr>
            <p:cNvSpPr/>
            <p:nvPr/>
          </p:nvSpPr>
          <p:spPr>
            <a:xfrm>
              <a:off x="8553910" y="-1235779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97" name="Freeform: Shape 636">
              <a:extLst>
                <a:ext uri="{FF2B5EF4-FFF2-40B4-BE49-F238E27FC236}">
                  <a16:creationId xmlns:a16="http://schemas.microsoft.com/office/drawing/2014/main" id="{36EE4A7B-9EB0-1F76-1220-1A39575BB2A2}"/>
                </a:ext>
              </a:extLst>
            </p:cNvPr>
            <p:cNvSpPr/>
            <p:nvPr/>
          </p:nvSpPr>
          <p:spPr>
            <a:xfrm>
              <a:off x="8764222" y="-118091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98" name="Freeform: Shape 637">
              <a:extLst>
                <a:ext uri="{FF2B5EF4-FFF2-40B4-BE49-F238E27FC236}">
                  <a16:creationId xmlns:a16="http://schemas.microsoft.com/office/drawing/2014/main" id="{AA7B2234-79C1-6573-79A4-58430B92361F}"/>
                </a:ext>
              </a:extLst>
            </p:cNvPr>
            <p:cNvSpPr/>
            <p:nvPr/>
          </p:nvSpPr>
          <p:spPr>
            <a:xfrm>
              <a:off x="8820229" y="-121520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599" name="Freeform: Shape 638">
              <a:extLst>
                <a:ext uri="{FF2B5EF4-FFF2-40B4-BE49-F238E27FC236}">
                  <a16:creationId xmlns:a16="http://schemas.microsoft.com/office/drawing/2014/main" id="{78D8EA38-E61C-B9D9-4F08-6569517B7623}"/>
                </a:ext>
              </a:extLst>
            </p:cNvPr>
            <p:cNvSpPr/>
            <p:nvPr/>
          </p:nvSpPr>
          <p:spPr>
            <a:xfrm>
              <a:off x="8917384" y="-115005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00" name="Freeform: Shape 639">
              <a:extLst>
                <a:ext uri="{FF2B5EF4-FFF2-40B4-BE49-F238E27FC236}">
                  <a16:creationId xmlns:a16="http://schemas.microsoft.com/office/drawing/2014/main" id="{383AFB79-432B-68AF-B031-7815BF064C89}"/>
                </a:ext>
              </a:extLst>
            </p:cNvPr>
            <p:cNvSpPr/>
            <p:nvPr/>
          </p:nvSpPr>
          <p:spPr>
            <a:xfrm>
              <a:off x="8973391" y="-1185487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01" name="Freeform: Shape 640">
              <a:extLst>
                <a:ext uri="{FF2B5EF4-FFF2-40B4-BE49-F238E27FC236}">
                  <a16:creationId xmlns:a16="http://schemas.microsoft.com/office/drawing/2014/main" id="{D5E6654C-7487-8321-C280-E6D12FE248D6}"/>
                </a:ext>
              </a:extLst>
            </p:cNvPr>
            <p:cNvSpPr/>
            <p:nvPr/>
          </p:nvSpPr>
          <p:spPr>
            <a:xfrm>
              <a:off x="9023683" y="-1150054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02" name="Freeform: Shape 641">
              <a:extLst>
                <a:ext uri="{FF2B5EF4-FFF2-40B4-BE49-F238E27FC236}">
                  <a16:creationId xmlns:a16="http://schemas.microsoft.com/office/drawing/2014/main" id="{BD45BD8B-80DE-996A-E098-B97F51FA7DD7}"/>
                </a:ext>
              </a:extLst>
            </p:cNvPr>
            <p:cNvSpPr/>
            <p:nvPr/>
          </p:nvSpPr>
          <p:spPr>
            <a:xfrm>
              <a:off x="9079690" y="-1185487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03" name="Freeform: Shape 642">
              <a:extLst>
                <a:ext uri="{FF2B5EF4-FFF2-40B4-BE49-F238E27FC236}">
                  <a16:creationId xmlns:a16="http://schemas.microsoft.com/office/drawing/2014/main" id="{4E9AFEC9-97FD-92CD-257A-ABC78CA9B43E}"/>
                </a:ext>
              </a:extLst>
            </p:cNvPr>
            <p:cNvSpPr/>
            <p:nvPr/>
          </p:nvSpPr>
          <p:spPr>
            <a:xfrm>
              <a:off x="9035113" y="-115005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04" name="Freeform: Shape 643">
              <a:extLst>
                <a:ext uri="{FF2B5EF4-FFF2-40B4-BE49-F238E27FC236}">
                  <a16:creationId xmlns:a16="http://schemas.microsoft.com/office/drawing/2014/main" id="{4A015B00-BC70-1EA3-E477-A1CFE7F829A0}"/>
                </a:ext>
              </a:extLst>
            </p:cNvPr>
            <p:cNvSpPr/>
            <p:nvPr/>
          </p:nvSpPr>
          <p:spPr>
            <a:xfrm>
              <a:off x="9091120" y="-1185487"/>
              <a:ext cx="9525" cy="70865"/>
            </a:xfrm>
            <a:custGeom>
              <a:avLst/>
              <a:gdLst>
                <a:gd name="connsiteX0" fmla="*/ 0 w 9525"/>
                <a:gd name="connsiteY0" fmla="*/ 0 h 70865"/>
                <a:gd name="connsiteX1" fmla="*/ 0 w 9525"/>
                <a:gd name="connsiteY1" fmla="*/ 70866 h 70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0865">
                  <a:moveTo>
                    <a:pt x="0" y="0"/>
                  </a:moveTo>
                  <a:lnTo>
                    <a:pt x="0" y="70866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05" name="Freeform: Shape 644">
              <a:extLst>
                <a:ext uri="{FF2B5EF4-FFF2-40B4-BE49-F238E27FC236}">
                  <a16:creationId xmlns:a16="http://schemas.microsoft.com/office/drawing/2014/main" id="{DDEF4C20-9582-F362-4630-F2A4665EFC13}"/>
                </a:ext>
              </a:extLst>
            </p:cNvPr>
            <p:cNvSpPr/>
            <p:nvPr/>
          </p:nvSpPr>
          <p:spPr>
            <a:xfrm>
              <a:off x="9094549" y="-112833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06" name="Freeform: Shape 645">
              <a:extLst>
                <a:ext uri="{FF2B5EF4-FFF2-40B4-BE49-F238E27FC236}">
                  <a16:creationId xmlns:a16="http://schemas.microsoft.com/office/drawing/2014/main" id="{927B9A72-1575-BEB1-3048-F7595764F047}"/>
                </a:ext>
              </a:extLst>
            </p:cNvPr>
            <p:cNvSpPr/>
            <p:nvPr/>
          </p:nvSpPr>
          <p:spPr>
            <a:xfrm>
              <a:off x="9150556" y="-1163770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07" name="Freeform: Shape 646">
              <a:extLst>
                <a:ext uri="{FF2B5EF4-FFF2-40B4-BE49-F238E27FC236}">
                  <a16:creationId xmlns:a16="http://schemas.microsoft.com/office/drawing/2014/main" id="{86AF1BEE-A157-DE48-93A0-FDCE9FD91655}"/>
                </a:ext>
              </a:extLst>
            </p:cNvPr>
            <p:cNvSpPr/>
            <p:nvPr/>
          </p:nvSpPr>
          <p:spPr>
            <a:xfrm>
              <a:off x="9124267" y="-112833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08" name="Freeform: Shape 647">
              <a:extLst>
                <a:ext uri="{FF2B5EF4-FFF2-40B4-BE49-F238E27FC236}">
                  <a16:creationId xmlns:a16="http://schemas.microsoft.com/office/drawing/2014/main" id="{35877344-0822-84A4-3EB9-799E15A16CEB}"/>
                </a:ext>
              </a:extLst>
            </p:cNvPr>
            <p:cNvSpPr/>
            <p:nvPr/>
          </p:nvSpPr>
          <p:spPr>
            <a:xfrm>
              <a:off x="9180274" y="-1163770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09" name="Freeform: Shape 648">
              <a:extLst>
                <a:ext uri="{FF2B5EF4-FFF2-40B4-BE49-F238E27FC236}">
                  <a16:creationId xmlns:a16="http://schemas.microsoft.com/office/drawing/2014/main" id="{E0647615-0AD4-1405-0B21-6133D8F68069}"/>
                </a:ext>
              </a:extLst>
            </p:cNvPr>
            <p:cNvSpPr/>
            <p:nvPr/>
          </p:nvSpPr>
          <p:spPr>
            <a:xfrm>
              <a:off x="9171130" y="-1128337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10" name="Freeform: Shape 649">
              <a:extLst>
                <a:ext uri="{FF2B5EF4-FFF2-40B4-BE49-F238E27FC236}">
                  <a16:creationId xmlns:a16="http://schemas.microsoft.com/office/drawing/2014/main" id="{D7E057C5-EE3A-8D36-6B6A-F4A4F1EC66C3}"/>
                </a:ext>
              </a:extLst>
            </p:cNvPr>
            <p:cNvSpPr/>
            <p:nvPr/>
          </p:nvSpPr>
          <p:spPr>
            <a:xfrm>
              <a:off x="9227137" y="-1163770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11" name="Freeform: Shape 650">
              <a:extLst>
                <a:ext uri="{FF2B5EF4-FFF2-40B4-BE49-F238E27FC236}">
                  <a16:creationId xmlns:a16="http://schemas.microsoft.com/office/drawing/2014/main" id="{4855CB5C-1C56-CDAA-F1B0-DA8D163239EA}"/>
                </a:ext>
              </a:extLst>
            </p:cNvPr>
            <p:cNvSpPr/>
            <p:nvPr/>
          </p:nvSpPr>
          <p:spPr>
            <a:xfrm>
              <a:off x="9183703" y="-1128337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12" name="Freeform: Shape 651">
              <a:extLst>
                <a:ext uri="{FF2B5EF4-FFF2-40B4-BE49-F238E27FC236}">
                  <a16:creationId xmlns:a16="http://schemas.microsoft.com/office/drawing/2014/main" id="{43C26CE3-5C75-6A04-6F3A-CC252F09A63A}"/>
                </a:ext>
              </a:extLst>
            </p:cNvPr>
            <p:cNvSpPr/>
            <p:nvPr/>
          </p:nvSpPr>
          <p:spPr>
            <a:xfrm>
              <a:off x="9238567" y="-1163770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13" name="Freeform: Shape 652">
              <a:extLst>
                <a:ext uri="{FF2B5EF4-FFF2-40B4-BE49-F238E27FC236}">
                  <a16:creationId xmlns:a16="http://schemas.microsoft.com/office/drawing/2014/main" id="{2B3B69F6-5094-4BD1-A166-1CBC93E4FD71}"/>
                </a:ext>
              </a:extLst>
            </p:cNvPr>
            <p:cNvSpPr/>
            <p:nvPr/>
          </p:nvSpPr>
          <p:spPr>
            <a:xfrm>
              <a:off x="9189418" y="-112833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14" name="Freeform: Shape 653">
              <a:extLst>
                <a:ext uri="{FF2B5EF4-FFF2-40B4-BE49-F238E27FC236}">
                  <a16:creationId xmlns:a16="http://schemas.microsoft.com/office/drawing/2014/main" id="{E6C698EE-7735-5ABC-B086-FE03FF00F9E5}"/>
                </a:ext>
              </a:extLst>
            </p:cNvPr>
            <p:cNvSpPr/>
            <p:nvPr/>
          </p:nvSpPr>
          <p:spPr>
            <a:xfrm>
              <a:off x="9245425" y="-1163770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15" name="Freeform: Shape 654">
              <a:extLst>
                <a:ext uri="{FF2B5EF4-FFF2-40B4-BE49-F238E27FC236}">
                  <a16:creationId xmlns:a16="http://schemas.microsoft.com/office/drawing/2014/main" id="{1E87D978-C002-9197-5096-66C9061E6808}"/>
                </a:ext>
              </a:extLst>
            </p:cNvPr>
            <p:cNvSpPr/>
            <p:nvPr/>
          </p:nvSpPr>
          <p:spPr>
            <a:xfrm>
              <a:off x="9277429" y="-112833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16" name="Freeform: Shape 655">
              <a:extLst>
                <a:ext uri="{FF2B5EF4-FFF2-40B4-BE49-F238E27FC236}">
                  <a16:creationId xmlns:a16="http://schemas.microsoft.com/office/drawing/2014/main" id="{1734AA20-B0EA-5295-513B-C8566DC6B9A2}"/>
                </a:ext>
              </a:extLst>
            </p:cNvPr>
            <p:cNvSpPr/>
            <p:nvPr/>
          </p:nvSpPr>
          <p:spPr>
            <a:xfrm>
              <a:off x="9333436" y="-1163770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17" name="Freeform: Shape 656">
              <a:extLst>
                <a:ext uri="{FF2B5EF4-FFF2-40B4-BE49-F238E27FC236}">
                  <a16:creationId xmlns:a16="http://schemas.microsoft.com/office/drawing/2014/main" id="{9878C878-16B3-8196-77EC-2A1CA85CF262}"/>
                </a:ext>
              </a:extLst>
            </p:cNvPr>
            <p:cNvSpPr/>
            <p:nvPr/>
          </p:nvSpPr>
          <p:spPr>
            <a:xfrm>
              <a:off x="9283144" y="-1128337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18" name="Freeform: Shape 657">
              <a:extLst>
                <a:ext uri="{FF2B5EF4-FFF2-40B4-BE49-F238E27FC236}">
                  <a16:creationId xmlns:a16="http://schemas.microsoft.com/office/drawing/2014/main" id="{7F80615E-E606-12FF-BC00-BEA8E15A1721}"/>
                </a:ext>
              </a:extLst>
            </p:cNvPr>
            <p:cNvSpPr/>
            <p:nvPr/>
          </p:nvSpPr>
          <p:spPr>
            <a:xfrm>
              <a:off x="9339151" y="-1163770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19" name="Freeform: Shape 658">
              <a:extLst>
                <a:ext uri="{FF2B5EF4-FFF2-40B4-BE49-F238E27FC236}">
                  <a16:creationId xmlns:a16="http://schemas.microsoft.com/office/drawing/2014/main" id="{EF48FC12-BD6D-4471-93FB-57D2ACF8FDE2}"/>
                </a:ext>
              </a:extLst>
            </p:cNvPr>
            <p:cNvSpPr/>
            <p:nvPr/>
          </p:nvSpPr>
          <p:spPr>
            <a:xfrm>
              <a:off x="9295717" y="-111576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20" name="Freeform: Shape 659">
              <a:extLst>
                <a:ext uri="{FF2B5EF4-FFF2-40B4-BE49-F238E27FC236}">
                  <a16:creationId xmlns:a16="http://schemas.microsoft.com/office/drawing/2014/main" id="{3772DB18-576B-3E4E-B5C8-94659188CC7D}"/>
                </a:ext>
              </a:extLst>
            </p:cNvPr>
            <p:cNvSpPr/>
            <p:nvPr/>
          </p:nvSpPr>
          <p:spPr>
            <a:xfrm>
              <a:off x="9351724" y="-115119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21" name="Freeform: Shape 660">
              <a:extLst>
                <a:ext uri="{FF2B5EF4-FFF2-40B4-BE49-F238E27FC236}">
                  <a16:creationId xmlns:a16="http://schemas.microsoft.com/office/drawing/2014/main" id="{5B6FE750-25EB-E852-A608-3D57A71D047D}"/>
                </a:ext>
              </a:extLst>
            </p:cNvPr>
            <p:cNvSpPr/>
            <p:nvPr/>
          </p:nvSpPr>
          <p:spPr>
            <a:xfrm>
              <a:off x="9295717" y="-1115764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22" name="Freeform: Shape 661">
              <a:extLst>
                <a:ext uri="{FF2B5EF4-FFF2-40B4-BE49-F238E27FC236}">
                  <a16:creationId xmlns:a16="http://schemas.microsoft.com/office/drawing/2014/main" id="{8C030359-9745-8B5B-C3EB-5D613FC32909}"/>
                </a:ext>
              </a:extLst>
            </p:cNvPr>
            <p:cNvSpPr/>
            <p:nvPr/>
          </p:nvSpPr>
          <p:spPr>
            <a:xfrm>
              <a:off x="9351724" y="-1151197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23" name="Freeform: Shape 662">
              <a:extLst>
                <a:ext uri="{FF2B5EF4-FFF2-40B4-BE49-F238E27FC236}">
                  <a16:creationId xmlns:a16="http://schemas.microsoft.com/office/drawing/2014/main" id="{A8D50588-F01F-9BAE-1254-A47F1B896414}"/>
                </a:ext>
              </a:extLst>
            </p:cNvPr>
            <p:cNvSpPr/>
            <p:nvPr/>
          </p:nvSpPr>
          <p:spPr>
            <a:xfrm>
              <a:off x="9307147" y="-110319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24" name="Freeform: Shape 663">
              <a:extLst>
                <a:ext uri="{FF2B5EF4-FFF2-40B4-BE49-F238E27FC236}">
                  <a16:creationId xmlns:a16="http://schemas.microsoft.com/office/drawing/2014/main" id="{02D902D7-44C5-3FEB-77FA-51B796424CBA}"/>
                </a:ext>
              </a:extLst>
            </p:cNvPr>
            <p:cNvSpPr/>
            <p:nvPr/>
          </p:nvSpPr>
          <p:spPr>
            <a:xfrm>
              <a:off x="9363154" y="-1138624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25" name="Freeform: Shape 664">
              <a:extLst>
                <a:ext uri="{FF2B5EF4-FFF2-40B4-BE49-F238E27FC236}">
                  <a16:creationId xmlns:a16="http://schemas.microsoft.com/office/drawing/2014/main" id="{E94D1D31-6833-7A58-9FE9-4B066E5F3F20}"/>
                </a:ext>
              </a:extLst>
            </p:cNvPr>
            <p:cNvSpPr/>
            <p:nvPr/>
          </p:nvSpPr>
          <p:spPr>
            <a:xfrm>
              <a:off x="9307147" y="-110319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26" name="Freeform: Shape 665">
              <a:extLst>
                <a:ext uri="{FF2B5EF4-FFF2-40B4-BE49-F238E27FC236}">
                  <a16:creationId xmlns:a16="http://schemas.microsoft.com/office/drawing/2014/main" id="{BD8DCEFC-05F0-2B92-3E01-1CA4EF91E3E4}"/>
                </a:ext>
              </a:extLst>
            </p:cNvPr>
            <p:cNvSpPr/>
            <p:nvPr/>
          </p:nvSpPr>
          <p:spPr>
            <a:xfrm>
              <a:off x="9363154" y="-1138624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27" name="Freeform: Shape 666">
              <a:extLst>
                <a:ext uri="{FF2B5EF4-FFF2-40B4-BE49-F238E27FC236}">
                  <a16:creationId xmlns:a16="http://schemas.microsoft.com/office/drawing/2014/main" id="{F6DA33B8-4E23-8801-CD83-41509FA0836A}"/>
                </a:ext>
              </a:extLst>
            </p:cNvPr>
            <p:cNvSpPr/>
            <p:nvPr/>
          </p:nvSpPr>
          <p:spPr>
            <a:xfrm>
              <a:off x="9312862" y="-110319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28" name="Freeform: Shape 667">
              <a:extLst>
                <a:ext uri="{FF2B5EF4-FFF2-40B4-BE49-F238E27FC236}">
                  <a16:creationId xmlns:a16="http://schemas.microsoft.com/office/drawing/2014/main" id="{3AE9AB03-6887-2798-8AEF-600C0A63175E}"/>
                </a:ext>
              </a:extLst>
            </p:cNvPr>
            <p:cNvSpPr/>
            <p:nvPr/>
          </p:nvSpPr>
          <p:spPr>
            <a:xfrm>
              <a:off x="9368869" y="-1138624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29" name="Freeform: Shape 668">
              <a:extLst>
                <a:ext uri="{FF2B5EF4-FFF2-40B4-BE49-F238E27FC236}">
                  <a16:creationId xmlns:a16="http://schemas.microsoft.com/office/drawing/2014/main" id="{20463445-79B1-7733-90BF-DF8D78F6C582}"/>
                </a:ext>
              </a:extLst>
            </p:cNvPr>
            <p:cNvSpPr/>
            <p:nvPr/>
          </p:nvSpPr>
          <p:spPr>
            <a:xfrm>
              <a:off x="9318577" y="-110319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30" name="Freeform: Shape 669">
              <a:extLst>
                <a:ext uri="{FF2B5EF4-FFF2-40B4-BE49-F238E27FC236}">
                  <a16:creationId xmlns:a16="http://schemas.microsoft.com/office/drawing/2014/main" id="{674369EE-0990-B473-3CA6-7240E3E44E38}"/>
                </a:ext>
              </a:extLst>
            </p:cNvPr>
            <p:cNvSpPr/>
            <p:nvPr/>
          </p:nvSpPr>
          <p:spPr>
            <a:xfrm>
              <a:off x="9374584" y="-1138624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31" name="Freeform: Shape 670">
              <a:extLst>
                <a:ext uri="{FF2B5EF4-FFF2-40B4-BE49-F238E27FC236}">
                  <a16:creationId xmlns:a16="http://schemas.microsoft.com/office/drawing/2014/main" id="{4F92FA19-5574-36C7-329E-7808A8F0F4D1}"/>
                </a:ext>
              </a:extLst>
            </p:cNvPr>
            <p:cNvSpPr/>
            <p:nvPr/>
          </p:nvSpPr>
          <p:spPr>
            <a:xfrm>
              <a:off x="9342580" y="-1103191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32" name="Freeform: Shape 671">
              <a:extLst>
                <a:ext uri="{FF2B5EF4-FFF2-40B4-BE49-F238E27FC236}">
                  <a16:creationId xmlns:a16="http://schemas.microsoft.com/office/drawing/2014/main" id="{0A0BAB42-EC4F-5F29-6F34-9436A7A1CAAD}"/>
                </a:ext>
              </a:extLst>
            </p:cNvPr>
            <p:cNvSpPr/>
            <p:nvPr/>
          </p:nvSpPr>
          <p:spPr>
            <a:xfrm>
              <a:off x="9398587" y="-1138624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33" name="Freeform: Shape 672">
              <a:extLst>
                <a:ext uri="{FF2B5EF4-FFF2-40B4-BE49-F238E27FC236}">
                  <a16:creationId xmlns:a16="http://schemas.microsoft.com/office/drawing/2014/main" id="{26840B7D-B6F2-E95B-C474-500F3C21D639}"/>
                </a:ext>
              </a:extLst>
            </p:cNvPr>
            <p:cNvSpPr/>
            <p:nvPr/>
          </p:nvSpPr>
          <p:spPr>
            <a:xfrm>
              <a:off x="9413446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34" name="Freeform: Shape 673">
              <a:extLst>
                <a:ext uri="{FF2B5EF4-FFF2-40B4-BE49-F238E27FC236}">
                  <a16:creationId xmlns:a16="http://schemas.microsoft.com/office/drawing/2014/main" id="{E2F7229D-1F43-EE77-EAC8-4B99E5AAED4B}"/>
                </a:ext>
              </a:extLst>
            </p:cNvPr>
            <p:cNvSpPr/>
            <p:nvPr/>
          </p:nvSpPr>
          <p:spPr>
            <a:xfrm>
              <a:off x="9469453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35" name="Freeform: Shape 674">
              <a:extLst>
                <a:ext uri="{FF2B5EF4-FFF2-40B4-BE49-F238E27FC236}">
                  <a16:creationId xmlns:a16="http://schemas.microsoft.com/office/drawing/2014/main" id="{E24CE28C-4B5D-8426-A1FD-B79D1A17ABC4}"/>
                </a:ext>
              </a:extLst>
            </p:cNvPr>
            <p:cNvSpPr/>
            <p:nvPr/>
          </p:nvSpPr>
          <p:spPr>
            <a:xfrm>
              <a:off x="9419161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36" name="Freeform: Shape 675">
              <a:extLst>
                <a:ext uri="{FF2B5EF4-FFF2-40B4-BE49-F238E27FC236}">
                  <a16:creationId xmlns:a16="http://schemas.microsoft.com/office/drawing/2014/main" id="{800F863E-621D-5F5E-C897-666B865B0D73}"/>
                </a:ext>
              </a:extLst>
            </p:cNvPr>
            <p:cNvSpPr/>
            <p:nvPr/>
          </p:nvSpPr>
          <p:spPr>
            <a:xfrm>
              <a:off x="9475168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37" name="Freeform: Shape 676">
              <a:extLst>
                <a:ext uri="{FF2B5EF4-FFF2-40B4-BE49-F238E27FC236}">
                  <a16:creationId xmlns:a16="http://schemas.microsoft.com/office/drawing/2014/main" id="{2F68CDA6-0F3D-4ED1-7E83-4DD327012F17}"/>
                </a:ext>
              </a:extLst>
            </p:cNvPr>
            <p:cNvSpPr/>
            <p:nvPr/>
          </p:nvSpPr>
          <p:spPr>
            <a:xfrm>
              <a:off x="9424876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38" name="Freeform: Shape 677">
              <a:extLst>
                <a:ext uri="{FF2B5EF4-FFF2-40B4-BE49-F238E27FC236}">
                  <a16:creationId xmlns:a16="http://schemas.microsoft.com/office/drawing/2014/main" id="{86A711A8-C52F-8655-2021-2DC3D8AE6F0E}"/>
                </a:ext>
              </a:extLst>
            </p:cNvPr>
            <p:cNvSpPr/>
            <p:nvPr/>
          </p:nvSpPr>
          <p:spPr>
            <a:xfrm>
              <a:off x="9480883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39" name="Freeform: Shape 678">
              <a:extLst>
                <a:ext uri="{FF2B5EF4-FFF2-40B4-BE49-F238E27FC236}">
                  <a16:creationId xmlns:a16="http://schemas.microsoft.com/office/drawing/2014/main" id="{90CF2615-B9F3-5E68-86A5-4335AE09BB10}"/>
                </a:ext>
              </a:extLst>
            </p:cNvPr>
            <p:cNvSpPr/>
            <p:nvPr/>
          </p:nvSpPr>
          <p:spPr>
            <a:xfrm>
              <a:off x="9424876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40" name="Freeform: Shape 679">
              <a:extLst>
                <a:ext uri="{FF2B5EF4-FFF2-40B4-BE49-F238E27FC236}">
                  <a16:creationId xmlns:a16="http://schemas.microsoft.com/office/drawing/2014/main" id="{AFC0E019-2812-4F36-2E55-5739C98A76CC}"/>
                </a:ext>
              </a:extLst>
            </p:cNvPr>
            <p:cNvSpPr/>
            <p:nvPr/>
          </p:nvSpPr>
          <p:spPr>
            <a:xfrm>
              <a:off x="9480883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41" name="Freeform: Shape 680">
              <a:extLst>
                <a:ext uri="{FF2B5EF4-FFF2-40B4-BE49-F238E27FC236}">
                  <a16:creationId xmlns:a16="http://schemas.microsoft.com/office/drawing/2014/main" id="{D7EECD20-DF63-A6C0-95C2-196F145BC7D9}"/>
                </a:ext>
              </a:extLst>
            </p:cNvPr>
            <p:cNvSpPr/>
            <p:nvPr/>
          </p:nvSpPr>
          <p:spPr>
            <a:xfrm>
              <a:off x="9495742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42" name="Freeform: Shape 681">
              <a:extLst>
                <a:ext uri="{FF2B5EF4-FFF2-40B4-BE49-F238E27FC236}">
                  <a16:creationId xmlns:a16="http://schemas.microsoft.com/office/drawing/2014/main" id="{AB9AB5AC-E341-C9DD-F76B-CB6B72024992}"/>
                </a:ext>
              </a:extLst>
            </p:cNvPr>
            <p:cNvSpPr/>
            <p:nvPr/>
          </p:nvSpPr>
          <p:spPr>
            <a:xfrm>
              <a:off x="9551749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43" name="Freeform: Shape 682">
              <a:extLst>
                <a:ext uri="{FF2B5EF4-FFF2-40B4-BE49-F238E27FC236}">
                  <a16:creationId xmlns:a16="http://schemas.microsoft.com/office/drawing/2014/main" id="{32ECC056-B91D-BC24-EEE7-E2C3D0543A05}"/>
                </a:ext>
              </a:extLst>
            </p:cNvPr>
            <p:cNvSpPr/>
            <p:nvPr/>
          </p:nvSpPr>
          <p:spPr>
            <a:xfrm>
              <a:off x="9543748" y="-1089475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44" name="Freeform: Shape 683">
              <a:extLst>
                <a:ext uri="{FF2B5EF4-FFF2-40B4-BE49-F238E27FC236}">
                  <a16:creationId xmlns:a16="http://schemas.microsoft.com/office/drawing/2014/main" id="{91587B04-BA65-B939-2E7C-DCF232440928}"/>
                </a:ext>
              </a:extLst>
            </p:cNvPr>
            <p:cNvSpPr/>
            <p:nvPr/>
          </p:nvSpPr>
          <p:spPr>
            <a:xfrm>
              <a:off x="9599755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45" name="Freeform: Shape 684">
              <a:extLst>
                <a:ext uri="{FF2B5EF4-FFF2-40B4-BE49-F238E27FC236}">
                  <a16:creationId xmlns:a16="http://schemas.microsoft.com/office/drawing/2014/main" id="{18A1209C-D817-87AE-D332-0545447C7674}"/>
                </a:ext>
              </a:extLst>
            </p:cNvPr>
            <p:cNvSpPr/>
            <p:nvPr/>
          </p:nvSpPr>
          <p:spPr>
            <a:xfrm>
              <a:off x="9555178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46" name="Freeform: Shape 685">
              <a:extLst>
                <a:ext uri="{FF2B5EF4-FFF2-40B4-BE49-F238E27FC236}">
                  <a16:creationId xmlns:a16="http://schemas.microsoft.com/office/drawing/2014/main" id="{BC37D26E-5606-C12F-47DA-6A9809720BF3}"/>
                </a:ext>
              </a:extLst>
            </p:cNvPr>
            <p:cNvSpPr/>
            <p:nvPr/>
          </p:nvSpPr>
          <p:spPr>
            <a:xfrm>
              <a:off x="9611185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47" name="Freeform: Shape 686">
              <a:extLst>
                <a:ext uri="{FF2B5EF4-FFF2-40B4-BE49-F238E27FC236}">
                  <a16:creationId xmlns:a16="http://schemas.microsoft.com/office/drawing/2014/main" id="{2224DA56-FA47-D9FA-9BAD-649AD05788C6}"/>
                </a:ext>
              </a:extLst>
            </p:cNvPr>
            <p:cNvSpPr/>
            <p:nvPr/>
          </p:nvSpPr>
          <p:spPr>
            <a:xfrm>
              <a:off x="9560893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48" name="Freeform: Shape 687">
              <a:extLst>
                <a:ext uri="{FF2B5EF4-FFF2-40B4-BE49-F238E27FC236}">
                  <a16:creationId xmlns:a16="http://schemas.microsoft.com/office/drawing/2014/main" id="{E7DA7272-8A20-2C7C-6ABE-3B8E01377344}"/>
                </a:ext>
              </a:extLst>
            </p:cNvPr>
            <p:cNvSpPr/>
            <p:nvPr/>
          </p:nvSpPr>
          <p:spPr>
            <a:xfrm>
              <a:off x="9616900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49" name="Freeform: Shape 688">
              <a:extLst>
                <a:ext uri="{FF2B5EF4-FFF2-40B4-BE49-F238E27FC236}">
                  <a16:creationId xmlns:a16="http://schemas.microsoft.com/office/drawing/2014/main" id="{86870C47-4744-7E0D-267C-FB059C2636FF}"/>
                </a:ext>
              </a:extLst>
            </p:cNvPr>
            <p:cNvSpPr/>
            <p:nvPr/>
          </p:nvSpPr>
          <p:spPr>
            <a:xfrm>
              <a:off x="9579181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50" name="Freeform: Shape 689">
              <a:extLst>
                <a:ext uri="{FF2B5EF4-FFF2-40B4-BE49-F238E27FC236}">
                  <a16:creationId xmlns:a16="http://schemas.microsoft.com/office/drawing/2014/main" id="{CB42F563-95A5-4164-5D1D-ADE4DFD99A78}"/>
                </a:ext>
              </a:extLst>
            </p:cNvPr>
            <p:cNvSpPr/>
            <p:nvPr/>
          </p:nvSpPr>
          <p:spPr>
            <a:xfrm>
              <a:off x="9635188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51" name="Freeform: Shape 690">
              <a:extLst>
                <a:ext uri="{FF2B5EF4-FFF2-40B4-BE49-F238E27FC236}">
                  <a16:creationId xmlns:a16="http://schemas.microsoft.com/office/drawing/2014/main" id="{BB10DCDA-F38B-5966-B603-CF2BF77F8601}"/>
                </a:ext>
              </a:extLst>
            </p:cNvPr>
            <p:cNvSpPr/>
            <p:nvPr/>
          </p:nvSpPr>
          <p:spPr>
            <a:xfrm>
              <a:off x="9590611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52" name="Freeform: Shape 691">
              <a:extLst>
                <a:ext uri="{FF2B5EF4-FFF2-40B4-BE49-F238E27FC236}">
                  <a16:creationId xmlns:a16="http://schemas.microsoft.com/office/drawing/2014/main" id="{F3145D98-D14C-8541-8110-F4D2A251E5A5}"/>
                </a:ext>
              </a:extLst>
            </p:cNvPr>
            <p:cNvSpPr/>
            <p:nvPr/>
          </p:nvSpPr>
          <p:spPr>
            <a:xfrm>
              <a:off x="9646618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53" name="Freeform: Shape 692">
              <a:extLst>
                <a:ext uri="{FF2B5EF4-FFF2-40B4-BE49-F238E27FC236}">
                  <a16:creationId xmlns:a16="http://schemas.microsoft.com/office/drawing/2014/main" id="{EB499C81-75A4-6A53-C3CE-8CEAEB7BE697}"/>
                </a:ext>
              </a:extLst>
            </p:cNvPr>
            <p:cNvSpPr/>
            <p:nvPr/>
          </p:nvSpPr>
          <p:spPr>
            <a:xfrm>
              <a:off x="9626044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54" name="Freeform: Shape 693">
              <a:extLst>
                <a:ext uri="{FF2B5EF4-FFF2-40B4-BE49-F238E27FC236}">
                  <a16:creationId xmlns:a16="http://schemas.microsoft.com/office/drawing/2014/main" id="{33878BC4-C60A-EF37-2F4C-AF71F10D5378}"/>
                </a:ext>
              </a:extLst>
            </p:cNvPr>
            <p:cNvSpPr/>
            <p:nvPr/>
          </p:nvSpPr>
          <p:spPr>
            <a:xfrm>
              <a:off x="9682051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55" name="Freeform: Shape 694">
              <a:extLst>
                <a:ext uri="{FF2B5EF4-FFF2-40B4-BE49-F238E27FC236}">
                  <a16:creationId xmlns:a16="http://schemas.microsoft.com/office/drawing/2014/main" id="{59138E94-6CD6-0EF4-03AA-F7AACAB662A7}"/>
                </a:ext>
              </a:extLst>
            </p:cNvPr>
            <p:cNvSpPr/>
            <p:nvPr/>
          </p:nvSpPr>
          <p:spPr>
            <a:xfrm>
              <a:off x="9655762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56" name="Freeform: Shape 695">
              <a:extLst>
                <a:ext uri="{FF2B5EF4-FFF2-40B4-BE49-F238E27FC236}">
                  <a16:creationId xmlns:a16="http://schemas.microsoft.com/office/drawing/2014/main" id="{33D10B9F-978F-A074-7979-069F864CA343}"/>
                </a:ext>
              </a:extLst>
            </p:cNvPr>
            <p:cNvSpPr/>
            <p:nvPr/>
          </p:nvSpPr>
          <p:spPr>
            <a:xfrm>
              <a:off x="9711769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57" name="Freeform: Shape 696">
              <a:extLst>
                <a:ext uri="{FF2B5EF4-FFF2-40B4-BE49-F238E27FC236}">
                  <a16:creationId xmlns:a16="http://schemas.microsoft.com/office/drawing/2014/main" id="{C7BE4F29-5A1A-53C4-C926-B7E3BFD94D8D}"/>
                </a:ext>
              </a:extLst>
            </p:cNvPr>
            <p:cNvSpPr/>
            <p:nvPr/>
          </p:nvSpPr>
          <p:spPr>
            <a:xfrm>
              <a:off x="9667192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58" name="Freeform: Shape 697">
              <a:extLst>
                <a:ext uri="{FF2B5EF4-FFF2-40B4-BE49-F238E27FC236}">
                  <a16:creationId xmlns:a16="http://schemas.microsoft.com/office/drawing/2014/main" id="{722A8269-680F-D453-C51C-51C4456BE072}"/>
                </a:ext>
              </a:extLst>
            </p:cNvPr>
            <p:cNvSpPr/>
            <p:nvPr/>
          </p:nvSpPr>
          <p:spPr>
            <a:xfrm>
              <a:off x="9723199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59" name="Freeform: Shape 698">
              <a:extLst>
                <a:ext uri="{FF2B5EF4-FFF2-40B4-BE49-F238E27FC236}">
                  <a16:creationId xmlns:a16="http://schemas.microsoft.com/office/drawing/2014/main" id="{9D315854-2564-E0F8-BC9A-EBD52FD10E60}"/>
                </a:ext>
              </a:extLst>
            </p:cNvPr>
            <p:cNvSpPr/>
            <p:nvPr/>
          </p:nvSpPr>
          <p:spPr>
            <a:xfrm>
              <a:off x="9679765" y="-1089475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60" name="Freeform: Shape 699">
              <a:extLst>
                <a:ext uri="{FF2B5EF4-FFF2-40B4-BE49-F238E27FC236}">
                  <a16:creationId xmlns:a16="http://schemas.microsoft.com/office/drawing/2014/main" id="{CAF3BE59-3E58-48B9-3164-A2D4B25EA3A2}"/>
                </a:ext>
              </a:extLst>
            </p:cNvPr>
            <p:cNvSpPr/>
            <p:nvPr/>
          </p:nvSpPr>
          <p:spPr>
            <a:xfrm>
              <a:off x="9735772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61" name="Freeform: Shape 700">
              <a:extLst>
                <a:ext uri="{FF2B5EF4-FFF2-40B4-BE49-F238E27FC236}">
                  <a16:creationId xmlns:a16="http://schemas.microsoft.com/office/drawing/2014/main" id="{FD3CA688-B1A0-AC07-C3DF-F31CDA866DC6}"/>
                </a:ext>
              </a:extLst>
            </p:cNvPr>
            <p:cNvSpPr/>
            <p:nvPr/>
          </p:nvSpPr>
          <p:spPr>
            <a:xfrm>
              <a:off x="9691195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62" name="Freeform: Shape 701">
              <a:extLst>
                <a:ext uri="{FF2B5EF4-FFF2-40B4-BE49-F238E27FC236}">
                  <a16:creationId xmlns:a16="http://schemas.microsoft.com/office/drawing/2014/main" id="{3006BDED-01CD-4A1E-820C-C9571DF13CB8}"/>
                </a:ext>
              </a:extLst>
            </p:cNvPr>
            <p:cNvSpPr/>
            <p:nvPr/>
          </p:nvSpPr>
          <p:spPr>
            <a:xfrm>
              <a:off x="9747202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63" name="Freeform: Shape 702">
              <a:extLst>
                <a:ext uri="{FF2B5EF4-FFF2-40B4-BE49-F238E27FC236}">
                  <a16:creationId xmlns:a16="http://schemas.microsoft.com/office/drawing/2014/main" id="{75A2B6A7-9F07-41B0-76E0-E72A7B4F1670}"/>
                </a:ext>
              </a:extLst>
            </p:cNvPr>
            <p:cNvSpPr/>
            <p:nvPr/>
          </p:nvSpPr>
          <p:spPr>
            <a:xfrm>
              <a:off x="9702625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64" name="Freeform: Shape 703">
              <a:extLst>
                <a:ext uri="{FF2B5EF4-FFF2-40B4-BE49-F238E27FC236}">
                  <a16:creationId xmlns:a16="http://schemas.microsoft.com/office/drawing/2014/main" id="{04689CB8-9CBA-E9B8-BB52-524262476F5A}"/>
                </a:ext>
              </a:extLst>
            </p:cNvPr>
            <p:cNvSpPr/>
            <p:nvPr/>
          </p:nvSpPr>
          <p:spPr>
            <a:xfrm>
              <a:off x="9758632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65" name="Freeform: Shape 704">
              <a:extLst>
                <a:ext uri="{FF2B5EF4-FFF2-40B4-BE49-F238E27FC236}">
                  <a16:creationId xmlns:a16="http://schemas.microsoft.com/office/drawing/2014/main" id="{CDCE621A-0925-CCC2-A456-52D3E41FADAB}"/>
                </a:ext>
              </a:extLst>
            </p:cNvPr>
            <p:cNvSpPr/>
            <p:nvPr/>
          </p:nvSpPr>
          <p:spPr>
            <a:xfrm>
              <a:off x="9786064" y="-1089475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66" name="Freeform: Shape 705">
              <a:extLst>
                <a:ext uri="{FF2B5EF4-FFF2-40B4-BE49-F238E27FC236}">
                  <a16:creationId xmlns:a16="http://schemas.microsoft.com/office/drawing/2014/main" id="{2E3156CA-7F02-5733-F425-688140994115}"/>
                </a:ext>
              </a:extLst>
            </p:cNvPr>
            <p:cNvSpPr/>
            <p:nvPr/>
          </p:nvSpPr>
          <p:spPr>
            <a:xfrm>
              <a:off x="9840928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67" name="Freeform: Shape 706">
              <a:extLst>
                <a:ext uri="{FF2B5EF4-FFF2-40B4-BE49-F238E27FC236}">
                  <a16:creationId xmlns:a16="http://schemas.microsoft.com/office/drawing/2014/main" id="{A93D0359-7133-822E-9C39-944FF0248336}"/>
                </a:ext>
              </a:extLst>
            </p:cNvPr>
            <p:cNvSpPr/>
            <p:nvPr/>
          </p:nvSpPr>
          <p:spPr>
            <a:xfrm>
              <a:off x="9786064" y="-1089475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68" name="Freeform: Shape 707">
              <a:extLst>
                <a:ext uri="{FF2B5EF4-FFF2-40B4-BE49-F238E27FC236}">
                  <a16:creationId xmlns:a16="http://schemas.microsoft.com/office/drawing/2014/main" id="{881EE296-30E8-9D71-474C-11E9121CA8E3}"/>
                </a:ext>
              </a:extLst>
            </p:cNvPr>
            <p:cNvSpPr/>
            <p:nvPr/>
          </p:nvSpPr>
          <p:spPr>
            <a:xfrm>
              <a:off x="9840928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69" name="Freeform: Shape 708">
              <a:extLst>
                <a:ext uri="{FF2B5EF4-FFF2-40B4-BE49-F238E27FC236}">
                  <a16:creationId xmlns:a16="http://schemas.microsoft.com/office/drawing/2014/main" id="{CFC0176F-E021-EEBE-08B9-525142DF7EBC}"/>
                </a:ext>
              </a:extLst>
            </p:cNvPr>
            <p:cNvSpPr/>
            <p:nvPr/>
          </p:nvSpPr>
          <p:spPr>
            <a:xfrm>
              <a:off x="9832927" y="-108947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70" name="Freeform: Shape 709">
              <a:extLst>
                <a:ext uri="{FF2B5EF4-FFF2-40B4-BE49-F238E27FC236}">
                  <a16:creationId xmlns:a16="http://schemas.microsoft.com/office/drawing/2014/main" id="{A4E5359C-3ABE-8B62-45B0-EFF0CCA64E85}"/>
                </a:ext>
              </a:extLst>
            </p:cNvPr>
            <p:cNvSpPr/>
            <p:nvPr/>
          </p:nvSpPr>
          <p:spPr>
            <a:xfrm>
              <a:off x="9888934" y="-1123765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71" name="Freeform: Shape 710">
              <a:extLst>
                <a:ext uri="{FF2B5EF4-FFF2-40B4-BE49-F238E27FC236}">
                  <a16:creationId xmlns:a16="http://schemas.microsoft.com/office/drawing/2014/main" id="{E1DB20A8-B1FF-400C-5630-9F8C5AA48168}"/>
                </a:ext>
              </a:extLst>
            </p:cNvPr>
            <p:cNvSpPr/>
            <p:nvPr/>
          </p:nvSpPr>
          <p:spPr>
            <a:xfrm>
              <a:off x="9920938" y="-103118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72" name="Freeform: Shape 711">
              <a:extLst>
                <a:ext uri="{FF2B5EF4-FFF2-40B4-BE49-F238E27FC236}">
                  <a16:creationId xmlns:a16="http://schemas.microsoft.com/office/drawing/2014/main" id="{C2EAA8E9-8248-8079-F31C-68B2374CD96D}"/>
                </a:ext>
              </a:extLst>
            </p:cNvPr>
            <p:cNvSpPr/>
            <p:nvPr/>
          </p:nvSpPr>
          <p:spPr>
            <a:xfrm>
              <a:off x="9976945" y="-1065472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73" name="Freeform: Shape 712">
              <a:extLst>
                <a:ext uri="{FF2B5EF4-FFF2-40B4-BE49-F238E27FC236}">
                  <a16:creationId xmlns:a16="http://schemas.microsoft.com/office/drawing/2014/main" id="{45039965-AD6D-47EC-0C2A-27AF89A5F342}"/>
                </a:ext>
              </a:extLst>
            </p:cNvPr>
            <p:cNvSpPr/>
            <p:nvPr/>
          </p:nvSpPr>
          <p:spPr>
            <a:xfrm>
              <a:off x="9933511" y="-103118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74" name="Freeform: Shape 713">
              <a:extLst>
                <a:ext uri="{FF2B5EF4-FFF2-40B4-BE49-F238E27FC236}">
                  <a16:creationId xmlns:a16="http://schemas.microsoft.com/office/drawing/2014/main" id="{11A43DAF-68AB-2428-6679-40281F893655}"/>
                </a:ext>
              </a:extLst>
            </p:cNvPr>
            <p:cNvSpPr/>
            <p:nvPr/>
          </p:nvSpPr>
          <p:spPr>
            <a:xfrm>
              <a:off x="9989518" y="-1065472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75" name="Freeform: Shape 714">
              <a:extLst>
                <a:ext uri="{FF2B5EF4-FFF2-40B4-BE49-F238E27FC236}">
                  <a16:creationId xmlns:a16="http://schemas.microsoft.com/office/drawing/2014/main" id="{A45D52FD-20D2-DF3B-4418-085429E54862}"/>
                </a:ext>
              </a:extLst>
            </p:cNvPr>
            <p:cNvSpPr/>
            <p:nvPr/>
          </p:nvSpPr>
          <p:spPr>
            <a:xfrm>
              <a:off x="9933511" y="-103118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76" name="Freeform: Shape 715">
              <a:extLst>
                <a:ext uri="{FF2B5EF4-FFF2-40B4-BE49-F238E27FC236}">
                  <a16:creationId xmlns:a16="http://schemas.microsoft.com/office/drawing/2014/main" id="{AD7691ED-AE0E-3BD2-55F8-457606EA6B7A}"/>
                </a:ext>
              </a:extLst>
            </p:cNvPr>
            <p:cNvSpPr/>
            <p:nvPr/>
          </p:nvSpPr>
          <p:spPr>
            <a:xfrm>
              <a:off x="9989518" y="-1065472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77" name="Freeform: Shape 716">
              <a:extLst>
                <a:ext uri="{FF2B5EF4-FFF2-40B4-BE49-F238E27FC236}">
                  <a16:creationId xmlns:a16="http://schemas.microsoft.com/office/drawing/2014/main" id="{0C26D97A-4E83-C59E-B559-F15FA22B225B}"/>
                </a:ext>
              </a:extLst>
            </p:cNvPr>
            <p:cNvSpPr/>
            <p:nvPr/>
          </p:nvSpPr>
          <p:spPr>
            <a:xfrm>
              <a:off x="10045525" y="-103118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78" name="Freeform: Shape 717">
              <a:extLst>
                <a:ext uri="{FF2B5EF4-FFF2-40B4-BE49-F238E27FC236}">
                  <a16:creationId xmlns:a16="http://schemas.microsoft.com/office/drawing/2014/main" id="{A20A3538-5A58-40F1-4B55-223EBB89809D}"/>
                </a:ext>
              </a:extLst>
            </p:cNvPr>
            <p:cNvSpPr/>
            <p:nvPr/>
          </p:nvSpPr>
          <p:spPr>
            <a:xfrm>
              <a:off x="10101532" y="-1065472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79" name="Freeform: Shape 718">
              <a:extLst>
                <a:ext uri="{FF2B5EF4-FFF2-40B4-BE49-F238E27FC236}">
                  <a16:creationId xmlns:a16="http://schemas.microsoft.com/office/drawing/2014/main" id="{7CB5F601-12C6-2AAE-9486-9FFCCFCC0885}"/>
                </a:ext>
              </a:extLst>
            </p:cNvPr>
            <p:cNvSpPr/>
            <p:nvPr/>
          </p:nvSpPr>
          <p:spPr>
            <a:xfrm>
              <a:off x="10056955" y="-103118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80" name="Freeform: Shape 719">
              <a:extLst>
                <a:ext uri="{FF2B5EF4-FFF2-40B4-BE49-F238E27FC236}">
                  <a16:creationId xmlns:a16="http://schemas.microsoft.com/office/drawing/2014/main" id="{5FA4AF49-97BC-D46F-7ADF-CAD2C3022716}"/>
                </a:ext>
              </a:extLst>
            </p:cNvPr>
            <p:cNvSpPr/>
            <p:nvPr/>
          </p:nvSpPr>
          <p:spPr>
            <a:xfrm>
              <a:off x="10112962" y="-1065472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81" name="Freeform: Shape 720">
              <a:extLst>
                <a:ext uri="{FF2B5EF4-FFF2-40B4-BE49-F238E27FC236}">
                  <a16:creationId xmlns:a16="http://schemas.microsoft.com/office/drawing/2014/main" id="{0D2F2C35-4035-4139-5FE8-242216BD2BB7}"/>
                </a:ext>
              </a:extLst>
            </p:cNvPr>
            <p:cNvSpPr/>
            <p:nvPr/>
          </p:nvSpPr>
          <p:spPr>
            <a:xfrm>
              <a:off x="10163254" y="-1031182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82" name="Freeform: Shape 721">
              <a:extLst>
                <a:ext uri="{FF2B5EF4-FFF2-40B4-BE49-F238E27FC236}">
                  <a16:creationId xmlns:a16="http://schemas.microsoft.com/office/drawing/2014/main" id="{E554762D-1DFE-1094-89CE-EFAFA82D746C}"/>
                </a:ext>
              </a:extLst>
            </p:cNvPr>
            <p:cNvSpPr/>
            <p:nvPr/>
          </p:nvSpPr>
          <p:spPr>
            <a:xfrm>
              <a:off x="10219261" y="-1065472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83" name="Freeform: Shape 722">
              <a:extLst>
                <a:ext uri="{FF2B5EF4-FFF2-40B4-BE49-F238E27FC236}">
                  <a16:creationId xmlns:a16="http://schemas.microsoft.com/office/drawing/2014/main" id="{6C89C093-F6BB-E7E3-5BC5-4C13378B7DAF}"/>
                </a:ext>
              </a:extLst>
            </p:cNvPr>
            <p:cNvSpPr/>
            <p:nvPr/>
          </p:nvSpPr>
          <p:spPr>
            <a:xfrm>
              <a:off x="10280983" y="-98660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84" name="Freeform: Shape 723">
              <a:extLst>
                <a:ext uri="{FF2B5EF4-FFF2-40B4-BE49-F238E27FC236}">
                  <a16:creationId xmlns:a16="http://schemas.microsoft.com/office/drawing/2014/main" id="{1BACD4E8-23F9-7973-E82A-B070429C0BE1}"/>
                </a:ext>
              </a:extLst>
            </p:cNvPr>
            <p:cNvSpPr/>
            <p:nvPr/>
          </p:nvSpPr>
          <p:spPr>
            <a:xfrm>
              <a:off x="10336990" y="-1020895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85" name="Freeform: Shape 724">
              <a:extLst>
                <a:ext uri="{FF2B5EF4-FFF2-40B4-BE49-F238E27FC236}">
                  <a16:creationId xmlns:a16="http://schemas.microsoft.com/office/drawing/2014/main" id="{1A28F879-AF3B-67DB-A9B6-810B3BEDB725}"/>
                </a:ext>
              </a:extLst>
            </p:cNvPr>
            <p:cNvSpPr/>
            <p:nvPr/>
          </p:nvSpPr>
          <p:spPr>
            <a:xfrm>
              <a:off x="10299271" y="-98660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86" name="Freeform: Shape 725">
              <a:extLst>
                <a:ext uri="{FF2B5EF4-FFF2-40B4-BE49-F238E27FC236}">
                  <a16:creationId xmlns:a16="http://schemas.microsoft.com/office/drawing/2014/main" id="{55616A8D-3A9C-BBA3-93B0-4DC371D3FE08}"/>
                </a:ext>
              </a:extLst>
            </p:cNvPr>
            <p:cNvSpPr/>
            <p:nvPr/>
          </p:nvSpPr>
          <p:spPr>
            <a:xfrm>
              <a:off x="10355278" y="-1020895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87" name="Freeform: Shape 726">
              <a:extLst>
                <a:ext uri="{FF2B5EF4-FFF2-40B4-BE49-F238E27FC236}">
                  <a16:creationId xmlns:a16="http://schemas.microsoft.com/office/drawing/2014/main" id="{1F35E3F9-0849-40D1-0D22-FE0F7C50BE8C}"/>
                </a:ext>
              </a:extLst>
            </p:cNvPr>
            <p:cNvSpPr/>
            <p:nvPr/>
          </p:nvSpPr>
          <p:spPr>
            <a:xfrm>
              <a:off x="10310701" y="-98660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88" name="Freeform: Shape 727">
              <a:extLst>
                <a:ext uri="{FF2B5EF4-FFF2-40B4-BE49-F238E27FC236}">
                  <a16:creationId xmlns:a16="http://schemas.microsoft.com/office/drawing/2014/main" id="{F12B172D-B36D-BE09-0856-FED6F0DDFFDF}"/>
                </a:ext>
              </a:extLst>
            </p:cNvPr>
            <p:cNvSpPr/>
            <p:nvPr/>
          </p:nvSpPr>
          <p:spPr>
            <a:xfrm>
              <a:off x="10366708" y="-1020895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89" name="Freeform: Shape 728">
              <a:extLst>
                <a:ext uri="{FF2B5EF4-FFF2-40B4-BE49-F238E27FC236}">
                  <a16:creationId xmlns:a16="http://schemas.microsoft.com/office/drawing/2014/main" id="{CB97ED21-CC99-F416-C60C-F303E039FF1D}"/>
                </a:ext>
              </a:extLst>
            </p:cNvPr>
            <p:cNvSpPr/>
            <p:nvPr/>
          </p:nvSpPr>
          <p:spPr>
            <a:xfrm>
              <a:off x="10405570" y="-98660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90" name="Freeform: Shape 729">
              <a:extLst>
                <a:ext uri="{FF2B5EF4-FFF2-40B4-BE49-F238E27FC236}">
                  <a16:creationId xmlns:a16="http://schemas.microsoft.com/office/drawing/2014/main" id="{6C30253C-1936-F394-C33A-8BD564534CB0}"/>
                </a:ext>
              </a:extLst>
            </p:cNvPr>
            <p:cNvSpPr/>
            <p:nvPr/>
          </p:nvSpPr>
          <p:spPr>
            <a:xfrm>
              <a:off x="10461577" y="-1020895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91" name="Freeform: Shape 730">
              <a:extLst>
                <a:ext uri="{FF2B5EF4-FFF2-40B4-BE49-F238E27FC236}">
                  <a16:creationId xmlns:a16="http://schemas.microsoft.com/office/drawing/2014/main" id="{9DD32A2E-38C0-16E4-7C79-9003A871EF10}"/>
                </a:ext>
              </a:extLst>
            </p:cNvPr>
            <p:cNvSpPr/>
            <p:nvPr/>
          </p:nvSpPr>
          <p:spPr>
            <a:xfrm>
              <a:off x="10417000" y="-986605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92" name="Freeform: Shape 731">
              <a:extLst>
                <a:ext uri="{FF2B5EF4-FFF2-40B4-BE49-F238E27FC236}">
                  <a16:creationId xmlns:a16="http://schemas.microsoft.com/office/drawing/2014/main" id="{CC89DDB9-97B4-3967-870A-8051E9F448CA}"/>
                </a:ext>
              </a:extLst>
            </p:cNvPr>
            <p:cNvSpPr/>
            <p:nvPr/>
          </p:nvSpPr>
          <p:spPr>
            <a:xfrm>
              <a:off x="10473007" y="-1020895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93" name="Freeform: Shape 732">
              <a:extLst>
                <a:ext uri="{FF2B5EF4-FFF2-40B4-BE49-F238E27FC236}">
                  <a16:creationId xmlns:a16="http://schemas.microsoft.com/office/drawing/2014/main" id="{B96565AC-32AC-C9F3-B7D7-C12FA2E17004}"/>
                </a:ext>
              </a:extLst>
            </p:cNvPr>
            <p:cNvSpPr/>
            <p:nvPr/>
          </p:nvSpPr>
          <p:spPr>
            <a:xfrm>
              <a:off x="10547302" y="-89630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94" name="Freeform: Shape 733">
              <a:extLst>
                <a:ext uri="{FF2B5EF4-FFF2-40B4-BE49-F238E27FC236}">
                  <a16:creationId xmlns:a16="http://schemas.microsoft.com/office/drawing/2014/main" id="{5DC07444-E3B1-FFD1-80F7-706174801842}"/>
                </a:ext>
              </a:extLst>
            </p:cNvPr>
            <p:cNvSpPr/>
            <p:nvPr/>
          </p:nvSpPr>
          <p:spPr>
            <a:xfrm>
              <a:off x="10603309" y="-931741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95" name="Freeform: Shape 734">
              <a:extLst>
                <a:ext uri="{FF2B5EF4-FFF2-40B4-BE49-F238E27FC236}">
                  <a16:creationId xmlns:a16="http://schemas.microsoft.com/office/drawing/2014/main" id="{7410FD5A-E2F3-2F22-F014-6D9478820FBC}"/>
                </a:ext>
              </a:extLst>
            </p:cNvPr>
            <p:cNvSpPr/>
            <p:nvPr/>
          </p:nvSpPr>
          <p:spPr>
            <a:xfrm>
              <a:off x="10612453" y="-89630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96" name="Freeform: Shape 735">
              <a:extLst>
                <a:ext uri="{FF2B5EF4-FFF2-40B4-BE49-F238E27FC236}">
                  <a16:creationId xmlns:a16="http://schemas.microsoft.com/office/drawing/2014/main" id="{C875CF2B-0F2B-23B3-55C5-DB87B639772A}"/>
                </a:ext>
              </a:extLst>
            </p:cNvPr>
            <p:cNvSpPr/>
            <p:nvPr/>
          </p:nvSpPr>
          <p:spPr>
            <a:xfrm>
              <a:off x="10668460" y="-931741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97" name="Freeform: Shape 736">
              <a:extLst>
                <a:ext uri="{FF2B5EF4-FFF2-40B4-BE49-F238E27FC236}">
                  <a16:creationId xmlns:a16="http://schemas.microsoft.com/office/drawing/2014/main" id="{0F3E6CA2-4AC2-1979-5C50-2C6BC06F40E9}"/>
                </a:ext>
              </a:extLst>
            </p:cNvPr>
            <p:cNvSpPr/>
            <p:nvPr/>
          </p:nvSpPr>
          <p:spPr>
            <a:xfrm>
              <a:off x="10741612" y="-896308"/>
              <a:ext cx="112013" cy="9525"/>
            </a:xfrm>
            <a:custGeom>
              <a:avLst/>
              <a:gdLst>
                <a:gd name="connsiteX0" fmla="*/ 0 w 112013"/>
                <a:gd name="connsiteY0" fmla="*/ 0 h 9525"/>
                <a:gd name="connsiteX1" fmla="*/ 112014 w 11201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3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98" name="Freeform: Shape 737">
              <a:extLst>
                <a:ext uri="{FF2B5EF4-FFF2-40B4-BE49-F238E27FC236}">
                  <a16:creationId xmlns:a16="http://schemas.microsoft.com/office/drawing/2014/main" id="{4F9EB28D-89F4-EAD7-3B22-40499AAB07AF}"/>
                </a:ext>
              </a:extLst>
            </p:cNvPr>
            <p:cNvSpPr/>
            <p:nvPr/>
          </p:nvSpPr>
          <p:spPr>
            <a:xfrm>
              <a:off x="10797619" y="-931741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699" name="Freeform: Shape 738">
              <a:extLst>
                <a:ext uri="{FF2B5EF4-FFF2-40B4-BE49-F238E27FC236}">
                  <a16:creationId xmlns:a16="http://schemas.microsoft.com/office/drawing/2014/main" id="{915A2CD8-4099-477C-1C69-07132979E9E9}"/>
                </a:ext>
              </a:extLst>
            </p:cNvPr>
            <p:cNvSpPr/>
            <p:nvPr/>
          </p:nvSpPr>
          <p:spPr>
            <a:xfrm>
              <a:off x="11457130" y="-896308"/>
              <a:ext cx="110870" cy="9525"/>
            </a:xfrm>
            <a:custGeom>
              <a:avLst/>
              <a:gdLst>
                <a:gd name="connsiteX0" fmla="*/ 0 w 110870"/>
                <a:gd name="connsiteY0" fmla="*/ 0 h 9525"/>
                <a:gd name="connsiteX1" fmla="*/ 110871 w 11087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0870" h="9525">
                  <a:moveTo>
                    <a:pt x="0" y="0"/>
                  </a:moveTo>
                  <a:lnTo>
                    <a:pt x="110871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700" name="Freeform: Shape 739">
              <a:extLst>
                <a:ext uri="{FF2B5EF4-FFF2-40B4-BE49-F238E27FC236}">
                  <a16:creationId xmlns:a16="http://schemas.microsoft.com/office/drawing/2014/main" id="{B8B7893A-AFC9-8A46-4E58-66EC70563853}"/>
                </a:ext>
              </a:extLst>
            </p:cNvPr>
            <p:cNvSpPr/>
            <p:nvPr/>
          </p:nvSpPr>
          <p:spPr>
            <a:xfrm>
              <a:off x="11511994" y="-931741"/>
              <a:ext cx="9525" cy="69722"/>
            </a:xfrm>
            <a:custGeom>
              <a:avLst/>
              <a:gdLst>
                <a:gd name="connsiteX0" fmla="*/ 0 w 9525"/>
                <a:gd name="connsiteY0" fmla="*/ 0 h 69722"/>
                <a:gd name="connsiteX1" fmla="*/ 0 w 9525"/>
                <a:gd name="connsiteY1" fmla="*/ 69723 h 69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2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701" name="Freeform: Shape 740">
              <a:extLst>
                <a:ext uri="{FF2B5EF4-FFF2-40B4-BE49-F238E27FC236}">
                  <a16:creationId xmlns:a16="http://schemas.microsoft.com/office/drawing/2014/main" id="{894D6449-7ED8-A1A5-9AFD-64E82ECE862F}"/>
                </a:ext>
              </a:extLst>
            </p:cNvPr>
            <p:cNvSpPr/>
            <p:nvPr/>
          </p:nvSpPr>
          <p:spPr>
            <a:xfrm>
              <a:off x="4458541" y="-2400496"/>
              <a:ext cx="112014" cy="9525"/>
            </a:xfrm>
            <a:custGeom>
              <a:avLst/>
              <a:gdLst>
                <a:gd name="connsiteX0" fmla="*/ 0 w 112014"/>
                <a:gd name="connsiteY0" fmla="*/ 0 h 9525"/>
                <a:gd name="connsiteX1" fmla="*/ 112014 w 11201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014" h="9525">
                  <a:moveTo>
                    <a:pt x="0" y="0"/>
                  </a:moveTo>
                  <a:lnTo>
                    <a:pt x="112014" y="0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  <p:sp>
          <p:nvSpPr>
            <p:cNvPr id="702" name="Freeform: Shape 741">
              <a:extLst>
                <a:ext uri="{FF2B5EF4-FFF2-40B4-BE49-F238E27FC236}">
                  <a16:creationId xmlns:a16="http://schemas.microsoft.com/office/drawing/2014/main" id="{8EF4251B-AA84-DEDF-84D3-BEAB9C793E89}"/>
                </a:ext>
              </a:extLst>
            </p:cNvPr>
            <p:cNvSpPr/>
            <p:nvPr/>
          </p:nvSpPr>
          <p:spPr>
            <a:xfrm>
              <a:off x="4514548" y="-2434786"/>
              <a:ext cx="9525" cy="69723"/>
            </a:xfrm>
            <a:custGeom>
              <a:avLst/>
              <a:gdLst>
                <a:gd name="connsiteX0" fmla="*/ 0 w 9525"/>
                <a:gd name="connsiteY0" fmla="*/ 0 h 69723"/>
                <a:gd name="connsiteX1" fmla="*/ 0 w 9525"/>
                <a:gd name="connsiteY1" fmla="*/ 69723 h 69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9723">
                  <a:moveTo>
                    <a:pt x="0" y="0"/>
                  </a:moveTo>
                  <a:lnTo>
                    <a:pt x="0" y="69723"/>
                  </a:lnTo>
                </a:path>
              </a:pathLst>
            </a:custGeom>
            <a:ln w="19050" cap="sq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Noto Sans"/>
              </a:endParaRPr>
            </a:p>
          </p:txBody>
        </p:sp>
      </p:grpSp>
      <p:sp>
        <p:nvSpPr>
          <p:cNvPr id="703" name="Rectangle 2">
            <a:extLst>
              <a:ext uri="{FF2B5EF4-FFF2-40B4-BE49-F238E27FC236}">
                <a16:creationId xmlns:a16="http://schemas.microsoft.com/office/drawing/2014/main" id="{714483CC-8420-5D97-CB85-D82F10880E27}"/>
              </a:ext>
            </a:extLst>
          </p:cNvPr>
          <p:cNvSpPr/>
          <p:nvPr/>
        </p:nvSpPr>
        <p:spPr bwMode="auto">
          <a:xfrm>
            <a:off x="9888581" y="3451165"/>
            <a:ext cx="894636" cy="344128"/>
          </a:xfrm>
          <a:prstGeom prst="rect">
            <a:avLst/>
          </a:prstGeom>
          <a:solidFill>
            <a:schemeClr val="tx2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18000" rIns="36000" bIns="18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Median PFS 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36.6 months</a:t>
            </a:r>
          </a:p>
        </p:txBody>
      </p:sp>
      <p:sp>
        <p:nvSpPr>
          <p:cNvPr id="704" name="Rectangle 38">
            <a:extLst>
              <a:ext uri="{FF2B5EF4-FFF2-40B4-BE49-F238E27FC236}">
                <a16:creationId xmlns:a16="http://schemas.microsoft.com/office/drawing/2014/main" id="{A5613D2B-36BB-6A51-3B2D-18EC5DAF3465}"/>
              </a:ext>
            </a:extLst>
          </p:cNvPr>
          <p:cNvSpPr/>
          <p:nvPr/>
        </p:nvSpPr>
        <p:spPr bwMode="auto">
          <a:xfrm>
            <a:off x="4398894" y="3644513"/>
            <a:ext cx="864029" cy="344128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18000" rIns="36000" bIns="18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Median PFS</a:t>
            </a:r>
            <a:br>
              <a:rPr kumimoji="0" lang="en-GB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</a:br>
            <a:r>
              <a:rPr kumimoji="0" lang="en-GB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Noto Sans"/>
              </a:rPr>
              <a:t>13.4 months</a:t>
            </a:r>
          </a:p>
        </p:txBody>
      </p:sp>
      <p:sp>
        <p:nvSpPr>
          <p:cNvPr id="3" name="object 8">
            <a:extLst>
              <a:ext uri="{FF2B5EF4-FFF2-40B4-BE49-F238E27FC236}">
                <a16:creationId xmlns:a16="http://schemas.microsoft.com/office/drawing/2014/main" id="{A694230F-E58E-E079-0186-B8CBDFFEBE9C}"/>
              </a:ext>
            </a:extLst>
          </p:cNvPr>
          <p:cNvSpPr txBox="1"/>
          <p:nvPr/>
        </p:nvSpPr>
        <p:spPr>
          <a:xfrm>
            <a:off x="8123275" y="6626310"/>
            <a:ext cx="4662758" cy="159659"/>
          </a:xfrm>
          <a:prstGeom prst="rect">
            <a:avLst/>
          </a:prstGeom>
        </p:spPr>
        <p:txBody>
          <a:bodyPr vert="horz" wrap="square" lIns="0" tIns="571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Hungria V, et al. ASH 2024. Abstracts 772 ;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teos ASCO 2024; Abstract 7503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A73DA8A-E73D-59BB-FD2A-A24A62AE247B}"/>
              </a:ext>
            </a:extLst>
          </p:cNvPr>
          <p:cNvSpPr txBox="1"/>
          <p:nvPr/>
        </p:nvSpPr>
        <p:spPr>
          <a:xfrm>
            <a:off x="144966" y="6490010"/>
            <a:ext cx="33927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Thanos C Dimopoulos, MD</a:t>
            </a:r>
          </a:p>
        </p:txBody>
      </p:sp>
    </p:spTree>
    <p:extLst>
      <p:ext uri="{BB962C8B-B14F-4D97-AF65-F5344CB8AC3E}">
        <p14:creationId xmlns:p14="http://schemas.microsoft.com/office/powerpoint/2010/main" val="24906141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3583"/>
            <a:ext cx="10358967" cy="1143000"/>
          </a:xfrm>
        </p:spPr>
        <p:txBody>
          <a:bodyPr/>
          <a:lstStyle/>
          <a:p>
            <a:r>
              <a:rPr lang="en-US" sz="3200" dirty="0"/>
              <a:t>Prof Dimopoulos </a:t>
            </a:r>
            <a:r>
              <a:rPr lang="en-US" sz="3200" dirty="0">
                <a:solidFill>
                  <a:srgbClr val="0432FF"/>
                </a:solidFill>
              </a:rPr>
              <a:t>— Disclosures</a:t>
            </a:r>
          </a:p>
        </p:txBody>
      </p:sp>
      <p:graphicFrame>
        <p:nvGraphicFramePr>
          <p:cNvPr id="3" name="Content Placeholder 3">
            <a:extLst>
              <a:ext uri="{FF2B5EF4-FFF2-40B4-BE49-F238E27FC236}">
                <a16:creationId xmlns:a16="http://schemas.microsoft.com/office/drawing/2014/main" id="{D79BE8EF-A597-304A-BB26-509894B2D335}"/>
              </a:ext>
            </a:extLst>
          </p:cNvPr>
          <p:cNvGraphicFramePr>
            <a:graphicFrameLocks/>
          </p:cNvGraphicFramePr>
          <p:nvPr/>
        </p:nvGraphicFramePr>
        <p:xfrm>
          <a:off x="983432" y="1988840"/>
          <a:ext cx="10657184" cy="1584176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0243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32848">
                  <a:extLst>
                    <a:ext uri="{9D8B030D-6E8A-4147-A177-3AD203B41FA5}">
                      <a16:colId xmlns:a16="http://schemas.microsoft.com/office/drawing/2014/main" val="3833924404"/>
                    </a:ext>
                  </a:extLst>
                </a:gridCol>
              </a:tblGrid>
              <a:tr h="1584176"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Advisory Committees, Consulting Agreements and Speakers Bureaus</a:t>
                      </a:r>
                      <a:endParaRPr lang="en-US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Amgen Inc, AstraZeneca Pharmaceuticals LP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BeiGene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Ltd, Bristol Myers Squibb, GSK, Janssen Biotech Inc, Menarini Group, Regeneron Pharmaceuticals Inc, Sanofi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Swixx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Biopharma SA, Takeda Pharmaceutical Company Limited</a:t>
                      </a:r>
                      <a:endParaRPr lang="en-US" sz="18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53071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984" y="94254"/>
            <a:ext cx="11572291" cy="1042593"/>
          </a:xfrm>
          <a:prstGeom prst="rect">
            <a:avLst/>
          </a:prstGeom>
        </p:spPr>
        <p:txBody>
          <a:bodyPr vert="horz" wrap="square" lIns="0" tIns="5715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450"/>
              </a:spcBef>
            </a:pPr>
            <a:r>
              <a:rPr sz="3200" dirty="0">
                <a:solidFill>
                  <a:srgbClr val="C00000"/>
                </a:solidFill>
              </a:rPr>
              <a:t>Updated</a:t>
            </a:r>
            <a:r>
              <a:rPr sz="3200" spc="-75" dirty="0">
                <a:solidFill>
                  <a:srgbClr val="C00000"/>
                </a:solidFill>
              </a:rPr>
              <a:t> </a:t>
            </a:r>
            <a:r>
              <a:rPr sz="3200" dirty="0">
                <a:solidFill>
                  <a:srgbClr val="C00000"/>
                </a:solidFill>
              </a:rPr>
              <a:t>and Additional</a:t>
            </a:r>
            <a:r>
              <a:rPr sz="3200" spc="-40" dirty="0">
                <a:solidFill>
                  <a:srgbClr val="C00000"/>
                </a:solidFill>
              </a:rPr>
              <a:t> </a:t>
            </a:r>
            <a:r>
              <a:rPr sz="3200" dirty="0">
                <a:solidFill>
                  <a:srgbClr val="C00000"/>
                </a:solidFill>
              </a:rPr>
              <a:t>Analyses</a:t>
            </a:r>
            <a:r>
              <a:rPr sz="3200" spc="-80" dirty="0">
                <a:solidFill>
                  <a:srgbClr val="C00000"/>
                </a:solidFill>
              </a:rPr>
              <a:t> </a:t>
            </a:r>
            <a:r>
              <a:rPr sz="3200" dirty="0">
                <a:solidFill>
                  <a:srgbClr val="C00000"/>
                </a:solidFill>
              </a:rPr>
              <a:t>From</a:t>
            </a:r>
            <a:r>
              <a:rPr sz="3200" spc="-40" dirty="0">
                <a:solidFill>
                  <a:srgbClr val="C00000"/>
                </a:solidFill>
              </a:rPr>
              <a:t> </a:t>
            </a:r>
            <a:r>
              <a:rPr sz="3200" dirty="0">
                <a:solidFill>
                  <a:srgbClr val="C00000"/>
                </a:solidFill>
              </a:rPr>
              <a:t>the</a:t>
            </a:r>
            <a:r>
              <a:rPr sz="3200" spc="-35" dirty="0">
                <a:solidFill>
                  <a:srgbClr val="C00000"/>
                </a:solidFill>
              </a:rPr>
              <a:t> </a:t>
            </a:r>
            <a:r>
              <a:rPr sz="3200" dirty="0">
                <a:solidFill>
                  <a:srgbClr val="C00000"/>
                </a:solidFill>
              </a:rPr>
              <a:t>Phase</a:t>
            </a:r>
            <a:r>
              <a:rPr sz="3200" spc="-35" dirty="0">
                <a:solidFill>
                  <a:srgbClr val="C00000"/>
                </a:solidFill>
              </a:rPr>
              <a:t> </a:t>
            </a:r>
            <a:r>
              <a:rPr sz="3200" dirty="0">
                <a:solidFill>
                  <a:srgbClr val="C00000"/>
                </a:solidFill>
              </a:rPr>
              <a:t>3</a:t>
            </a:r>
            <a:r>
              <a:rPr sz="3200" spc="-45" dirty="0">
                <a:solidFill>
                  <a:srgbClr val="C00000"/>
                </a:solidFill>
              </a:rPr>
              <a:t> </a:t>
            </a:r>
            <a:r>
              <a:rPr sz="3200" spc="-20" dirty="0">
                <a:solidFill>
                  <a:srgbClr val="C00000"/>
                </a:solidFill>
              </a:rPr>
              <a:t>DREAMM-</a:t>
            </a:r>
            <a:r>
              <a:rPr sz="3200" dirty="0">
                <a:solidFill>
                  <a:srgbClr val="C00000"/>
                </a:solidFill>
              </a:rPr>
              <a:t>7</a:t>
            </a:r>
            <a:r>
              <a:rPr sz="3200" spc="-50" dirty="0">
                <a:solidFill>
                  <a:srgbClr val="C00000"/>
                </a:solidFill>
              </a:rPr>
              <a:t> </a:t>
            </a:r>
            <a:r>
              <a:rPr sz="3200" spc="-10" dirty="0">
                <a:solidFill>
                  <a:srgbClr val="C00000"/>
                </a:solidFill>
              </a:rPr>
              <a:t>Trial</a:t>
            </a:r>
            <a:r>
              <a:rPr sz="3200" spc="-45" dirty="0">
                <a:solidFill>
                  <a:srgbClr val="C00000"/>
                </a:solidFill>
              </a:rPr>
              <a:t> </a:t>
            </a:r>
            <a:r>
              <a:rPr sz="3200" dirty="0">
                <a:solidFill>
                  <a:srgbClr val="C00000"/>
                </a:solidFill>
              </a:rPr>
              <a:t>of</a:t>
            </a:r>
            <a:r>
              <a:rPr sz="3200" spc="-15" dirty="0">
                <a:solidFill>
                  <a:srgbClr val="C00000"/>
                </a:solidFill>
              </a:rPr>
              <a:t> </a:t>
            </a:r>
            <a:r>
              <a:rPr sz="3200" dirty="0">
                <a:solidFill>
                  <a:srgbClr val="C00000"/>
                </a:solidFill>
              </a:rPr>
              <a:t>BVd</a:t>
            </a:r>
            <a:r>
              <a:rPr sz="3200" spc="-75" dirty="0">
                <a:solidFill>
                  <a:srgbClr val="C00000"/>
                </a:solidFill>
              </a:rPr>
              <a:t> </a:t>
            </a:r>
            <a:r>
              <a:rPr sz="3200" spc="-25" dirty="0">
                <a:solidFill>
                  <a:srgbClr val="C00000"/>
                </a:solidFill>
              </a:rPr>
              <a:t>vs </a:t>
            </a:r>
            <a:r>
              <a:rPr sz="3200" dirty="0">
                <a:solidFill>
                  <a:srgbClr val="C00000"/>
                </a:solidFill>
              </a:rPr>
              <a:t>DVd</a:t>
            </a:r>
            <a:r>
              <a:rPr sz="3200" spc="-95" dirty="0">
                <a:solidFill>
                  <a:srgbClr val="C00000"/>
                </a:solidFill>
              </a:rPr>
              <a:t> </a:t>
            </a:r>
            <a:r>
              <a:rPr sz="3200" dirty="0">
                <a:solidFill>
                  <a:srgbClr val="C00000"/>
                </a:solidFill>
              </a:rPr>
              <a:t>in</a:t>
            </a:r>
            <a:r>
              <a:rPr sz="3200" spc="-30" dirty="0">
                <a:solidFill>
                  <a:srgbClr val="C00000"/>
                </a:solidFill>
              </a:rPr>
              <a:t> </a:t>
            </a:r>
            <a:r>
              <a:rPr sz="3200" dirty="0">
                <a:solidFill>
                  <a:srgbClr val="C00000"/>
                </a:solidFill>
              </a:rPr>
              <a:t>RRMM:</a:t>
            </a:r>
            <a:r>
              <a:rPr sz="3200" spc="-65" dirty="0">
                <a:solidFill>
                  <a:srgbClr val="C00000"/>
                </a:solidFill>
              </a:rPr>
              <a:t> </a:t>
            </a:r>
            <a:r>
              <a:rPr sz="3200" spc="-25" dirty="0">
                <a:solidFill>
                  <a:srgbClr val="C00000"/>
                </a:solidFill>
              </a:rPr>
              <a:t>O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473775" y="1267867"/>
            <a:ext cx="4007751" cy="231474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Median</a:t>
            </a:r>
            <a:r>
              <a:rPr kumimoji="0" sz="1400" b="1" i="0" u="none" strike="noStrike" kern="1200" cap="none" spc="19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follow-up:</a:t>
            </a:r>
            <a:r>
              <a:rPr kumimoji="0" sz="1400" b="1" i="0" u="none" strike="noStrike" kern="1200" cap="none" spc="17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39.4</a:t>
            </a:r>
            <a:r>
              <a:rPr kumimoji="0" sz="1400" b="1" i="0" u="none" strike="noStrike" kern="1200" cap="none" spc="13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months</a:t>
            </a:r>
            <a:r>
              <a:rPr kumimoji="0" sz="1400" b="1" i="0" u="none" strike="noStrike" kern="1200" cap="none" spc="85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(range,</a:t>
            </a:r>
            <a:r>
              <a:rPr kumimoji="0" sz="1400" b="1" i="0" u="none" strike="noStrike" kern="1200" cap="none" spc="17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0.1-</a:t>
            </a:r>
            <a:r>
              <a:rPr kumimoji="0" sz="1400" b="1" i="0" u="none" strike="noStrike" kern="1200" cap="none" spc="-1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52.3)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Franklin Gothic Book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934325" y="4741343"/>
            <a:ext cx="3790950" cy="740203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50165" rIns="0" bIns="0" rtlCol="0">
            <a:spAutoFit/>
          </a:bodyPr>
          <a:lstStyle/>
          <a:p>
            <a:pPr marL="99695" marR="0" lvl="0" indent="0" algn="l" defTabSz="914400" rtl="0" eaLnBrk="1" fontAlgn="auto" latinLnBrk="0" hangingPunct="1">
              <a:lnSpc>
                <a:spcPct val="100000"/>
              </a:lnSpc>
              <a:spcBef>
                <a:spcPts val="3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Median</a:t>
            </a:r>
            <a:r>
              <a:rPr kumimoji="0" sz="1400" b="1" i="0" u="none" strike="noStrike" kern="1200" cap="none" spc="-15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OS</a:t>
            </a:r>
            <a:r>
              <a:rPr kumimoji="0" sz="1400" b="1" i="0" u="none" strike="noStrike" kern="1200" cap="none" spc="-3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was</a:t>
            </a:r>
            <a:r>
              <a:rPr kumimoji="0" sz="1400" b="1" i="0" u="none" strike="noStrike" kern="1200" cap="none" spc="-45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not</a:t>
            </a:r>
            <a:r>
              <a:rPr kumimoji="0" sz="1400" b="1" i="0" u="none" strike="noStrike" kern="1200" cap="none" spc="2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-1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reached.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Franklin Gothic Book"/>
            </a:endParaRPr>
          </a:p>
          <a:p>
            <a:pPr marL="99695" marR="0" lvl="0" indent="0" algn="l" defTabSz="914400" rtl="0" eaLnBrk="1" fontAlgn="auto" latinLnBrk="0" hangingPunct="1">
              <a:lnSpc>
                <a:spcPts val="1664"/>
              </a:lnSpc>
              <a:spcBef>
                <a:spcPts val="3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Predicted</a:t>
            </a:r>
            <a:r>
              <a:rPr kumimoji="0" sz="1400" b="1" i="0" u="none" strike="noStrike" kern="1200" cap="none" spc="-8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median</a:t>
            </a:r>
            <a:r>
              <a:rPr kumimoji="0" sz="1400" b="1" i="0" u="none" strike="noStrike" kern="1200" cap="none" spc="-2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OS</a:t>
            </a:r>
            <a:r>
              <a:rPr kumimoji="0" sz="1400" b="1" i="0" u="none" strike="noStrike" kern="1200" cap="none" spc="-5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based</a:t>
            </a:r>
            <a:r>
              <a:rPr kumimoji="0" sz="1400" b="1" i="0" u="none" strike="noStrike" kern="1200" cap="none" spc="-1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on</a:t>
            </a:r>
            <a:r>
              <a:rPr kumimoji="0" sz="1400" b="1" i="0" u="none" strike="noStrike" kern="1200" cap="none" spc="-1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modeling</a:t>
            </a:r>
            <a:r>
              <a:rPr kumimoji="0" sz="1400" b="1" i="0" u="none" strike="noStrike" kern="1200" cap="none" spc="-15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-25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is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Franklin Gothic Book"/>
            </a:endParaRPr>
          </a:p>
          <a:p>
            <a:pPr marL="99695" marR="0" lvl="0" indent="0" algn="l" defTabSz="914400" rtl="0" eaLnBrk="1" fontAlgn="auto" latinLnBrk="0" hangingPunct="1">
              <a:lnSpc>
                <a:spcPts val="166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84</a:t>
            </a:r>
            <a:r>
              <a:rPr kumimoji="0" sz="1400" b="1" i="0" u="none" strike="noStrike" kern="1200" cap="none" spc="1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months</a:t>
            </a:r>
            <a:r>
              <a:rPr kumimoji="0" sz="1400" b="1" i="0" u="none" strike="noStrike" kern="1200" cap="none" spc="-4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with</a:t>
            </a:r>
            <a:r>
              <a:rPr kumimoji="0" sz="1400" b="1" i="0" u="none" strike="noStrike" kern="1200" cap="none" spc="-75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BVd</a:t>
            </a:r>
            <a:r>
              <a:rPr kumimoji="0" sz="1400" b="1" i="0" u="none" strike="noStrike" kern="1200" cap="none" spc="-7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and</a:t>
            </a:r>
            <a:r>
              <a:rPr kumimoji="0" sz="1400" b="1" i="0" u="none" strike="noStrike" kern="1200" cap="none" spc="5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51</a:t>
            </a:r>
            <a:r>
              <a:rPr kumimoji="0" sz="1400" b="1" i="0" u="none" strike="noStrike" kern="1200" cap="none" spc="1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months</a:t>
            </a:r>
            <a:r>
              <a:rPr kumimoji="0" sz="1400" b="1" i="0" u="none" strike="noStrike" kern="1200" cap="none" spc="-4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with </a:t>
            </a:r>
            <a:r>
              <a:rPr kumimoji="0" sz="1400" b="1" i="0" u="none" strike="noStrike" kern="1200" cap="none" spc="-25" normalizeH="0" baseline="0" noProof="0" dirty="0">
                <a:ln>
                  <a:noFill/>
                </a:ln>
                <a:solidFill>
                  <a:srgbClr val="0091B6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DVd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Franklin Gothic Book"/>
            </a:endParaRPr>
          </a:p>
        </p:txBody>
      </p:sp>
      <p:graphicFrame>
        <p:nvGraphicFramePr>
          <p:cNvPr id="5" name="object 5"/>
          <p:cNvGraphicFramePr>
            <a:graphicFrameLocks noGrp="1"/>
          </p:cNvGraphicFramePr>
          <p:nvPr/>
        </p:nvGraphicFramePr>
        <p:xfrm>
          <a:off x="7930260" y="2165020"/>
          <a:ext cx="3787774" cy="235076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230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23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823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9554">
                <a:tc>
                  <a:txBody>
                    <a:bodyPr/>
                    <a:lstStyle/>
                    <a:p>
                      <a:pPr marL="33020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400" spc="-25" dirty="0">
                          <a:solidFill>
                            <a:srgbClr val="FFFFFF"/>
                          </a:solidFill>
                          <a:latin typeface="Franklin Gothic Book"/>
                          <a:cs typeface="Franklin Gothic Book"/>
                        </a:rPr>
                        <a:t>OS</a:t>
                      </a:r>
                      <a:endParaRPr sz="1400" dirty="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4604" marB="0">
                    <a:lnL w="12700">
                      <a:solidFill>
                        <a:srgbClr val="0091B6"/>
                      </a:solidFill>
                      <a:prstDash val="solid"/>
                    </a:lnL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0091B6"/>
                    </a:solidFill>
                  </a:tcPr>
                </a:tc>
                <a:tc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400" dirty="0">
                          <a:solidFill>
                            <a:srgbClr val="FFFFFF"/>
                          </a:solidFill>
                          <a:latin typeface="Franklin Gothic Book"/>
                          <a:cs typeface="Franklin Gothic Book"/>
                        </a:rPr>
                        <a:t>BVd</a:t>
                      </a:r>
                      <a:r>
                        <a:rPr sz="1400" spc="-35" dirty="0">
                          <a:solidFill>
                            <a:srgbClr val="FFFFFF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10" dirty="0">
                          <a:solidFill>
                            <a:srgbClr val="FFFFFF"/>
                          </a:solidFill>
                          <a:latin typeface="Franklin Gothic Book"/>
                          <a:cs typeface="Franklin Gothic Book"/>
                        </a:rPr>
                        <a:t>(n=243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4604" marB="0"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30968B"/>
                    </a:solidFill>
                  </a:tcPr>
                </a:tc>
                <a:tc>
                  <a:txBody>
                    <a:bodyPr/>
                    <a:lstStyle/>
                    <a:p>
                      <a:pPr marL="17780" algn="ctr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400" dirty="0">
                          <a:solidFill>
                            <a:srgbClr val="FFFFFF"/>
                          </a:solidFill>
                          <a:latin typeface="Franklin Gothic Book"/>
                          <a:cs typeface="Franklin Gothic Book"/>
                        </a:rPr>
                        <a:t>DVd</a:t>
                      </a:r>
                      <a:r>
                        <a:rPr sz="1400" spc="-40" dirty="0">
                          <a:solidFill>
                            <a:srgbClr val="FFFFFF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10" dirty="0">
                          <a:solidFill>
                            <a:srgbClr val="FFFFFF"/>
                          </a:solidFill>
                          <a:latin typeface="Franklin Gothic Book"/>
                          <a:cs typeface="Franklin Gothic Book"/>
                        </a:rPr>
                        <a:t>(n=251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4604" marB="0">
                    <a:lnR w="12700">
                      <a:solidFill>
                        <a:srgbClr val="0091B6"/>
                      </a:solidFill>
                      <a:prstDash val="solid"/>
                    </a:lnR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9554">
                <a:tc>
                  <a:txBody>
                    <a:bodyPr/>
                    <a:lstStyle/>
                    <a:p>
                      <a:pPr marL="33020">
                        <a:lnSpc>
                          <a:spcPct val="100000"/>
                        </a:lnSpc>
                        <a:spcBef>
                          <a:spcPts val="120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Events, n</a:t>
                      </a:r>
                      <a:r>
                        <a:rPr sz="1400" spc="-3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%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5240" marB="0">
                    <a:lnL w="12700">
                      <a:solidFill>
                        <a:srgbClr val="0091B6"/>
                      </a:solidFill>
                      <a:prstDash val="solid"/>
                    </a:lnL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E7EDF3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120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68</a:t>
                      </a:r>
                      <a:r>
                        <a:rPr sz="1400" spc="1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2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28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5240" marB="0"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E7EDF3"/>
                    </a:solidFill>
                  </a:tcPr>
                </a:tc>
                <a:tc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  <a:spcBef>
                          <a:spcPts val="120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103</a:t>
                      </a:r>
                      <a:r>
                        <a:rPr sz="1400" spc="-7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2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41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5240" marB="0">
                    <a:lnR w="12700">
                      <a:solidFill>
                        <a:srgbClr val="0091B6"/>
                      </a:solidFill>
                      <a:prstDash val="solid"/>
                    </a:lnR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E7ED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2915">
                <a:tc>
                  <a:txBody>
                    <a:bodyPr/>
                    <a:lstStyle/>
                    <a:p>
                      <a:pPr marL="43180">
                        <a:lnSpc>
                          <a:spcPct val="100000"/>
                        </a:lnSpc>
                        <a:spcBef>
                          <a:spcPts val="120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Median</a:t>
                      </a:r>
                      <a:r>
                        <a:rPr sz="1400" spc="-3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OS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  <a:p>
                      <a:pPr marL="33020"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95%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CI),</a:t>
                      </a:r>
                      <a:r>
                        <a:rPr sz="1400" spc="-3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1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months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5240" marB="0">
                    <a:lnL w="12700">
                      <a:solidFill>
                        <a:srgbClr val="0091B6"/>
                      </a:solidFill>
                      <a:prstDash val="solid"/>
                    </a:lnL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780" algn="ctr">
                        <a:lnSpc>
                          <a:spcPct val="100000"/>
                        </a:lnSpc>
                        <a:spcBef>
                          <a:spcPts val="960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NR</a:t>
                      </a:r>
                      <a:r>
                        <a:rPr sz="1400" spc="4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2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NR-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NR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21920" marB="0"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8415" algn="ctr">
                        <a:lnSpc>
                          <a:spcPct val="100000"/>
                        </a:lnSpc>
                        <a:spcBef>
                          <a:spcPts val="960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NR</a:t>
                      </a:r>
                      <a:r>
                        <a:rPr sz="1400" spc="6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3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41.0-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NR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21920" marB="0">
                    <a:lnR w="12700">
                      <a:solidFill>
                        <a:srgbClr val="0091B6"/>
                      </a:solidFill>
                      <a:prstDash val="solid"/>
                    </a:lnR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2915">
                <a:tc>
                  <a:txBody>
                    <a:bodyPr/>
                    <a:lstStyle/>
                    <a:p>
                      <a:pPr marL="43180">
                        <a:lnSpc>
                          <a:spcPct val="100000"/>
                        </a:lnSpc>
                        <a:spcBef>
                          <a:spcPts val="125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HR</a:t>
                      </a:r>
                      <a:r>
                        <a:rPr sz="1400" spc="-2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95%</a:t>
                      </a:r>
                      <a:r>
                        <a:rPr sz="1400" spc="-2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CI);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  <a:p>
                      <a:pPr marL="33020"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r>
                        <a:rPr sz="1400" i="1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P</a:t>
                      </a:r>
                      <a:r>
                        <a:rPr sz="1400" i="1" spc="-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1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value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5875" marB="0">
                    <a:lnL w="12700">
                      <a:solidFill>
                        <a:srgbClr val="0091B6"/>
                      </a:solidFill>
                      <a:prstDash val="solid"/>
                    </a:lnL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E7EDF3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71755">
                        <a:lnSpc>
                          <a:spcPct val="100000"/>
                        </a:lnSpc>
                        <a:spcBef>
                          <a:spcPts val="970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0.58</a:t>
                      </a:r>
                      <a:r>
                        <a:rPr sz="1400" spc="-5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1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0.43-</a:t>
                      </a: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0.79);</a:t>
                      </a:r>
                      <a:r>
                        <a:rPr sz="1400" spc="3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i="1" spc="-1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P</a:t>
                      </a:r>
                      <a:r>
                        <a:rPr sz="1400" spc="-1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=0.00023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23190" marB="0">
                    <a:lnR w="12700">
                      <a:solidFill>
                        <a:srgbClr val="0091B6"/>
                      </a:solidFill>
                      <a:prstDash val="solid"/>
                    </a:lnR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E7ED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2915">
                <a:tc>
                  <a:txBody>
                    <a:bodyPr/>
                    <a:lstStyle/>
                    <a:p>
                      <a:pPr marL="33020" marR="167640" indent="9525">
                        <a:lnSpc>
                          <a:spcPct val="102899"/>
                        </a:lnSpc>
                        <a:spcBef>
                          <a:spcPts val="80"/>
                        </a:spcBef>
                      </a:pPr>
                      <a:r>
                        <a:rPr sz="1400" spc="-3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24-</a:t>
                      </a: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month</a:t>
                      </a:r>
                      <a:r>
                        <a:rPr sz="1400" spc="-5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OS, </a:t>
                      </a:r>
                      <a:r>
                        <a:rPr sz="1400" spc="-5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% </a:t>
                      </a: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95%</a:t>
                      </a:r>
                      <a:r>
                        <a:rPr sz="1400" spc="-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CI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0160" marB="0">
                    <a:lnL w="12700">
                      <a:solidFill>
                        <a:srgbClr val="0091B6"/>
                      </a:solidFill>
                      <a:prstDash val="solid"/>
                    </a:lnL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969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79</a:t>
                      </a:r>
                      <a:r>
                        <a:rPr sz="1400" spc="4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2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73-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84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23189" marB="0"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7145" algn="ctr">
                        <a:lnSpc>
                          <a:spcPct val="100000"/>
                        </a:lnSpc>
                        <a:spcBef>
                          <a:spcPts val="969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67</a:t>
                      </a:r>
                      <a:r>
                        <a:rPr sz="1400" spc="5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3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61-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73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23189" marB="0">
                    <a:lnR w="12700">
                      <a:solidFill>
                        <a:srgbClr val="0091B6"/>
                      </a:solidFill>
                      <a:prstDash val="solid"/>
                    </a:lnR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2915">
                <a:tc>
                  <a:txBody>
                    <a:bodyPr/>
                    <a:lstStyle/>
                    <a:p>
                      <a:pPr marL="33020" marR="159385" indent="9525">
                        <a:lnSpc>
                          <a:spcPct val="102800"/>
                        </a:lnSpc>
                        <a:spcBef>
                          <a:spcPts val="90"/>
                        </a:spcBef>
                      </a:pPr>
                      <a:r>
                        <a:rPr sz="1400" spc="-1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36-</a:t>
                      </a: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month</a:t>
                      </a:r>
                      <a:r>
                        <a:rPr sz="1400" spc="-5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OS,</a:t>
                      </a:r>
                      <a:r>
                        <a:rPr sz="1400" spc="-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5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% </a:t>
                      </a: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95% 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CI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1430" marB="0">
                    <a:lnL w="12700">
                      <a:solidFill>
                        <a:srgbClr val="0091B6"/>
                      </a:solidFill>
                      <a:prstDash val="solid"/>
                    </a:lnL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E7EDF3"/>
                    </a:solidFill>
                  </a:tcPr>
                </a:tc>
                <a:tc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975"/>
                        </a:spcBef>
                      </a:pPr>
                      <a:r>
                        <a:rPr sz="1400" spc="-5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74</a:t>
                      </a: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2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68-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79)</a:t>
                      </a:r>
                      <a:endParaRPr sz="140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23825" marB="0"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E7EDF3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975"/>
                        </a:spcBef>
                      </a:pPr>
                      <a:r>
                        <a:rPr sz="140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60</a:t>
                      </a:r>
                      <a:r>
                        <a:rPr sz="1400" spc="4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sz="1400" spc="-20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(54-</a:t>
                      </a:r>
                      <a:r>
                        <a:rPr sz="1400" spc="-25" dirty="0">
                          <a:solidFill>
                            <a:srgbClr val="404040"/>
                          </a:solidFill>
                          <a:latin typeface="Franklin Gothic Book"/>
                          <a:cs typeface="Franklin Gothic Book"/>
                        </a:rPr>
                        <a:t>66)</a:t>
                      </a:r>
                      <a:endParaRPr sz="1400" dirty="0">
                        <a:latin typeface="Franklin Gothic Book"/>
                        <a:cs typeface="Franklin Gothic Book"/>
                      </a:endParaRPr>
                    </a:p>
                  </a:txBody>
                  <a:tcPr marL="0" marR="0" marT="123825" marB="0">
                    <a:lnR w="12700">
                      <a:solidFill>
                        <a:srgbClr val="0091B6"/>
                      </a:solidFill>
                      <a:prstDash val="solid"/>
                    </a:lnR>
                    <a:lnT w="12700">
                      <a:solidFill>
                        <a:srgbClr val="0091B6"/>
                      </a:solidFill>
                      <a:prstDash val="solid"/>
                    </a:lnT>
                    <a:lnB w="12700">
                      <a:solidFill>
                        <a:srgbClr val="0091B6"/>
                      </a:solidFill>
                      <a:prstDash val="solid"/>
                    </a:lnB>
                    <a:solidFill>
                      <a:srgbClr val="E7ED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6" name="object 6"/>
          <p:cNvPicPr/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73966" y="2292415"/>
            <a:ext cx="7162800" cy="3581400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9314815" y="6683916"/>
            <a:ext cx="2877185" cy="159659"/>
          </a:xfrm>
          <a:prstGeom prst="rect">
            <a:avLst/>
          </a:prstGeom>
        </p:spPr>
        <p:txBody>
          <a:bodyPr vert="horz" wrap="square" lIns="0" tIns="571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Hungria V, et al. ASH 2024.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 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Franklin Gothic Book"/>
              </a:rPr>
              <a:t>Abstracts 772 and 3359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00C185-14D7-7961-D8EB-6AD26C3B1DF4}"/>
              </a:ext>
            </a:extLst>
          </p:cNvPr>
          <p:cNvSpPr txBox="1"/>
          <p:nvPr/>
        </p:nvSpPr>
        <p:spPr>
          <a:xfrm>
            <a:off x="144966" y="6490010"/>
            <a:ext cx="33927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Thanos C Dimopoulos, MD</a:t>
            </a: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78BE61B-6633-5710-9242-67F89F5D5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8881F7E-8BD0-197D-2B2A-37525101E5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110" y="164690"/>
            <a:ext cx="10583862" cy="722311"/>
          </a:xfrm>
        </p:spPr>
        <p:txBody>
          <a:bodyPr/>
          <a:lstStyle/>
          <a:p>
            <a:r>
              <a:rPr lang="en-US" sz="32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REAMM-9: Study design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01C4A4D4-B003-78F7-5AF3-78A8A5B85199}"/>
              </a:ext>
            </a:extLst>
          </p:cNvPr>
          <p:cNvSpPr txBox="1"/>
          <p:nvPr/>
        </p:nvSpPr>
        <p:spPr>
          <a:xfrm>
            <a:off x="9435934" y="1376944"/>
            <a:ext cx="2260766" cy="4321636"/>
          </a:xfrm>
          <a:prstGeom prst="roundRect">
            <a:avLst>
              <a:gd name="adj" fmla="val 8744"/>
            </a:avLst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91440" rIns="91440" anchor="ctr">
            <a:noAutofit/>
          </a:bodyPr>
          <a:lstStyle/>
          <a:p>
            <a:pPr marL="176213" marR="0" lvl="0" indent="-176213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horts with lower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ses and longer schedules were opened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assess the potential to improve tolerability while maintaining efficacy</a:t>
            </a:r>
          </a:p>
          <a:p>
            <a:pPr marL="176213" marR="0" lvl="0" indent="-176213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 cohorts receive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lamaf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ith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R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or Cycles 1‒8 (21-day cycle), followed by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lamaf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ith Rd for Cycles 9+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8-day cycle)</a:t>
            </a:r>
          </a:p>
          <a:p>
            <a:pPr marL="176213" marR="0" lvl="0" indent="-176213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ular events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re managed by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se modifications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 extending the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sing interval</a:t>
            </a:r>
          </a:p>
        </p:txBody>
      </p:sp>
      <p:sp>
        <p:nvSpPr>
          <p:cNvPr id="166" name="Rectangle: Rounded Corners 165">
            <a:extLst>
              <a:ext uri="{FF2B5EF4-FFF2-40B4-BE49-F238E27FC236}">
                <a16:creationId xmlns:a16="http://schemas.microsoft.com/office/drawing/2014/main" id="{7E167F6C-554A-A9A9-9BD4-66A35DCBB51E}"/>
              </a:ext>
            </a:extLst>
          </p:cNvPr>
          <p:cNvSpPr/>
          <p:nvPr/>
        </p:nvSpPr>
        <p:spPr>
          <a:xfrm>
            <a:off x="502195" y="1089025"/>
            <a:ext cx="1945567" cy="4609556"/>
          </a:xfrm>
          <a:prstGeom prst="roundRect">
            <a:avLst>
              <a:gd name="adj" fmla="val 8098"/>
            </a:avLst>
          </a:prstGeom>
          <a:solidFill>
            <a:schemeClr val="bg1"/>
          </a:solidFill>
          <a:ln w="25400" cap="flat" cmpd="sng" algn="ctr">
            <a:noFill/>
            <a:prstDash val="solid"/>
            <a:miter lim="800000"/>
          </a:ln>
          <a:effectLst>
            <a:outerShdw blurRad="63500" algn="tl" rotWithShape="0">
              <a:prstClr val="black">
                <a:alpha val="20000"/>
              </a:prstClr>
            </a:outerShdw>
          </a:effectLst>
        </p:spPr>
        <p:txBody>
          <a:bodyPr tIns="63665" bIns="63665" rtlCol="0" anchor="ctr">
            <a:normAutofit/>
          </a:bodyPr>
          <a:lstStyle/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959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1" name="Vertical Text Placeholder 2">
            <a:extLst>
              <a:ext uri="{FF2B5EF4-FFF2-40B4-BE49-F238E27FC236}">
                <a16:creationId xmlns:a16="http://schemas.microsoft.com/office/drawing/2014/main" id="{1DD7EE29-16CD-C288-8658-547B9623BA27}"/>
              </a:ext>
            </a:extLst>
          </p:cNvPr>
          <p:cNvSpPr txBox="1">
            <a:spLocks/>
          </p:cNvSpPr>
          <p:nvPr/>
        </p:nvSpPr>
        <p:spPr>
          <a:xfrm>
            <a:off x="499242" y="1425478"/>
            <a:ext cx="1950427" cy="3082102"/>
          </a:xfrm>
          <a:prstGeom prst="rect">
            <a:avLst/>
          </a:prstGeom>
          <a:noFill/>
        </p:spPr>
        <p:txBody>
          <a:bodyPr vert="horz" lIns="91440" tIns="91440" rIns="91440" bIns="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MM diagnosis per </a:t>
            </a:r>
            <a:b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IMWG criteria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COG performance status of 0–2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Not a candidate for </a:t>
            </a:r>
            <a:b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HDT with ASCT due to frailty and/or significant comorbid condition(s)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Measurable disease per IMWG criteria 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NZ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NZ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Prior systemic therapy </a:t>
            </a:r>
            <a:b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for MM or SMM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Current corneal </a:t>
            </a:r>
            <a:b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pithelial diseas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NZ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76F861F1-BFEB-322D-CAA6-A08A9563FF20}"/>
              </a:ext>
            </a:extLst>
          </p:cNvPr>
          <p:cNvSpPr/>
          <p:nvPr/>
        </p:nvSpPr>
        <p:spPr>
          <a:xfrm>
            <a:off x="2535338" y="1097161"/>
            <a:ext cx="4799724" cy="4601420"/>
          </a:xfrm>
          <a:prstGeom prst="roundRect">
            <a:avLst>
              <a:gd name="adj" fmla="val 3533"/>
            </a:avLst>
          </a:prstGeom>
          <a:solidFill>
            <a:schemeClr val="bg1"/>
          </a:solidFill>
          <a:ln w="25400" cap="flat" cmpd="sng" algn="ctr">
            <a:noFill/>
            <a:prstDash val="solid"/>
            <a:miter lim="800000"/>
          </a:ln>
          <a:effectLst>
            <a:outerShdw blurRad="63500" algn="tl" rotWithShape="0">
              <a:prstClr val="black">
                <a:alpha val="20000"/>
              </a:prstClr>
            </a:outerShdw>
          </a:effectLst>
        </p:spPr>
        <p:txBody>
          <a:bodyPr tIns="63665" bIns="63665" rtlCol="0" anchor="ctr">
            <a:normAutofit/>
          </a:bodyPr>
          <a:lstStyle/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13" b="0" i="0" u="none" strike="noStrike" kern="0" cap="none" spc="0" normalizeH="0" baseline="0" noProof="0">
              <a:ln>
                <a:noFill/>
              </a:ln>
              <a:solidFill>
                <a:srgbClr val="959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3" name="Rectangle: Rounded Corners 34">
            <a:extLst>
              <a:ext uri="{FF2B5EF4-FFF2-40B4-BE49-F238E27FC236}">
                <a16:creationId xmlns:a16="http://schemas.microsoft.com/office/drawing/2014/main" id="{8EF5FDE6-1485-1FB9-7A0E-0F6E19EAD001}"/>
              </a:ext>
            </a:extLst>
          </p:cNvPr>
          <p:cNvSpPr/>
          <p:nvPr/>
        </p:nvSpPr>
        <p:spPr>
          <a:xfrm>
            <a:off x="6488406" y="5421406"/>
            <a:ext cx="815284" cy="2201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Z" sz="800" b="1" i="0" u="none" strike="noStrike" kern="0" cap="none" spc="0" normalizeH="0" baseline="0" noProof="0">
                <a:ln>
                  <a:noFill/>
                </a:ln>
                <a:solidFill>
                  <a:srgbClr val="244EA2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70-day safety </a:t>
            </a:r>
            <a:r>
              <a:rPr kumimoji="0" lang="en-NZ" sz="800" b="0" i="0" u="none" strike="noStrike" kern="0" cap="none" spc="0" normalizeH="0" baseline="0" noProof="0">
                <a:ln>
                  <a:noFill/>
                </a:ln>
                <a:solidFill>
                  <a:srgbClr val="244EA2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follow-up visit</a:t>
            </a:r>
            <a:endParaRPr kumimoji="0" lang="en-US" sz="800" b="0" i="0" u="none" strike="noStrike" kern="0" cap="none" spc="0" normalizeH="0" baseline="30000" noProof="0">
              <a:ln>
                <a:noFill/>
              </a:ln>
              <a:solidFill>
                <a:srgbClr val="244EA2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+mn-cs"/>
            </a:endParaRPr>
          </a:p>
        </p:txBody>
      </p:sp>
      <p:sp>
        <p:nvSpPr>
          <p:cNvPr id="176" name="Right Brace 175">
            <a:extLst>
              <a:ext uri="{FF2B5EF4-FFF2-40B4-BE49-F238E27FC236}">
                <a16:creationId xmlns:a16="http://schemas.microsoft.com/office/drawing/2014/main" id="{EC828ABD-E429-3F45-A526-9446BBBCE7F1}"/>
              </a:ext>
            </a:extLst>
          </p:cNvPr>
          <p:cNvSpPr/>
          <p:nvPr/>
        </p:nvSpPr>
        <p:spPr>
          <a:xfrm rot="5400000">
            <a:off x="2859085" y="5027311"/>
            <a:ext cx="92569" cy="591526"/>
          </a:xfrm>
          <a:prstGeom prst="rightBrace">
            <a:avLst/>
          </a:prstGeom>
          <a:noFill/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7" name="Right Brace 176">
            <a:extLst>
              <a:ext uri="{FF2B5EF4-FFF2-40B4-BE49-F238E27FC236}">
                <a16:creationId xmlns:a16="http://schemas.microsoft.com/office/drawing/2014/main" id="{44D408CC-4A02-D677-9223-1FEF2B381F12}"/>
              </a:ext>
            </a:extLst>
          </p:cNvPr>
          <p:cNvSpPr/>
          <p:nvPr/>
        </p:nvSpPr>
        <p:spPr>
          <a:xfrm rot="5400000">
            <a:off x="6849766" y="4970347"/>
            <a:ext cx="92566" cy="730854"/>
          </a:xfrm>
          <a:prstGeom prst="rightBrace">
            <a:avLst/>
          </a:prstGeom>
          <a:noFill/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0" name="Rectangle: Rounded Corners 31">
            <a:extLst>
              <a:ext uri="{FF2B5EF4-FFF2-40B4-BE49-F238E27FC236}">
                <a16:creationId xmlns:a16="http://schemas.microsoft.com/office/drawing/2014/main" id="{15124ECF-23FB-BD39-9194-E88FEA5A3E21}"/>
              </a:ext>
            </a:extLst>
          </p:cNvPr>
          <p:cNvSpPr/>
          <p:nvPr/>
        </p:nvSpPr>
        <p:spPr>
          <a:xfrm>
            <a:off x="2603182" y="5416772"/>
            <a:ext cx="591526" cy="11815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>
            <a:normAutofit lnSpcReduction="10000"/>
          </a:bodyPr>
          <a:lstStyle/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Z" sz="800" b="0" i="0" u="none" strike="noStrike" kern="0" cap="none" spc="0" normalizeH="0" baseline="0" noProof="0">
                <a:ln>
                  <a:noFill/>
                </a:ln>
                <a:solidFill>
                  <a:srgbClr val="69B445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21 days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69B445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+mn-cs"/>
            </a:endParaRPr>
          </a:p>
        </p:txBody>
      </p:sp>
      <p:sp>
        <p:nvSpPr>
          <p:cNvPr id="175" name="Right Brace 174">
            <a:extLst>
              <a:ext uri="{FF2B5EF4-FFF2-40B4-BE49-F238E27FC236}">
                <a16:creationId xmlns:a16="http://schemas.microsoft.com/office/drawing/2014/main" id="{1EDC85F4-B6B6-C4EB-38A6-D37ED4076A12}"/>
              </a:ext>
            </a:extLst>
          </p:cNvPr>
          <p:cNvSpPr/>
          <p:nvPr/>
        </p:nvSpPr>
        <p:spPr>
          <a:xfrm rot="5400000">
            <a:off x="4841573" y="3876671"/>
            <a:ext cx="77319" cy="2902960"/>
          </a:xfrm>
          <a:prstGeom prst="rightBrace">
            <a:avLst/>
          </a:prstGeom>
          <a:noFill/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9" name="Rectangle: Rounded Corners 26">
            <a:extLst>
              <a:ext uri="{FF2B5EF4-FFF2-40B4-BE49-F238E27FC236}">
                <a16:creationId xmlns:a16="http://schemas.microsoft.com/office/drawing/2014/main" id="{50F63825-4F01-9F76-2851-47A970D158E8}"/>
              </a:ext>
            </a:extLst>
          </p:cNvPr>
          <p:cNvSpPr/>
          <p:nvPr/>
        </p:nvSpPr>
        <p:spPr>
          <a:xfrm>
            <a:off x="3731567" y="5424580"/>
            <a:ext cx="2237686" cy="20732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Z" sz="800" b="0" i="0" u="none" strike="noStrike" kern="0" cap="none" spc="0" normalizeH="0" baseline="0" noProof="0">
                <a:ln>
                  <a:noFill/>
                </a:ln>
                <a:solidFill>
                  <a:srgbClr val="E2186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Randomized assignment </a:t>
            </a:r>
          </a:p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Z" sz="800" b="1" i="0" u="none" strike="noStrike" kern="0" cap="none" spc="0" normalizeH="0" baseline="0" noProof="0">
                <a:ln>
                  <a:noFill/>
                </a:ln>
                <a:solidFill>
                  <a:srgbClr val="E2186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+ SOC (</a:t>
            </a:r>
            <a:r>
              <a:rPr kumimoji="0" lang="en-NZ" sz="800" b="1" i="0" u="none" strike="noStrike" kern="0" cap="none" spc="0" normalizeH="0" baseline="0" noProof="0" err="1">
                <a:ln>
                  <a:noFill/>
                </a:ln>
                <a:solidFill>
                  <a:srgbClr val="E2186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VRd</a:t>
            </a:r>
            <a:r>
              <a:rPr kumimoji="0" lang="en-NZ" sz="800" b="1" i="0" u="none" strike="noStrike" kern="0" cap="none" spc="0" normalizeH="0" baseline="0" noProof="0">
                <a:ln>
                  <a:noFill/>
                </a:ln>
                <a:solidFill>
                  <a:srgbClr val="E2186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 [Cycles 1–8], Rd [Cycles 9+])</a:t>
            </a: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E218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NZ" sz="800" b="0" i="0" u="none" strike="noStrike" kern="0" cap="none" spc="0" normalizeH="0" baseline="0" noProof="0">
              <a:ln>
                <a:noFill/>
              </a:ln>
              <a:solidFill>
                <a:srgbClr val="E2186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+mn-cs"/>
            </a:endParaRPr>
          </a:p>
        </p:txBody>
      </p:sp>
      <p:sp>
        <p:nvSpPr>
          <p:cNvPr id="188" name="Vertical Text Placeholder 2">
            <a:extLst>
              <a:ext uri="{FF2B5EF4-FFF2-40B4-BE49-F238E27FC236}">
                <a16:creationId xmlns:a16="http://schemas.microsoft.com/office/drawing/2014/main" id="{65188021-F342-8127-A4DD-04AC1C342CC5}"/>
              </a:ext>
            </a:extLst>
          </p:cNvPr>
          <p:cNvSpPr txBox="1">
            <a:spLocks/>
          </p:cNvSpPr>
          <p:nvPr/>
        </p:nvSpPr>
        <p:spPr>
          <a:xfrm>
            <a:off x="3948245" y="4274763"/>
            <a:ext cx="2404908" cy="490934"/>
          </a:xfrm>
          <a:prstGeom prst="rect">
            <a:avLst/>
          </a:prstGeom>
          <a:solidFill>
            <a:srgbClr val="AB95C7"/>
          </a:solidFill>
          <a:ln w="15875">
            <a:solidFill>
              <a:srgbClr val="000000"/>
            </a:solidFill>
            <a:prstDash val="dash"/>
          </a:ln>
        </p:spPr>
        <p:txBody>
          <a:bodyPr vert="horz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1.4 (9W) to 1.0 mg/kg Q9/12W, </a:t>
            </a:r>
            <a:br>
              <a:rPr kumimoji="0" lang="en-NZ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very third SOC cycle</a:t>
            </a:r>
            <a:b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(n=15)</a:t>
            </a:r>
            <a:endParaRPr kumimoji="0" lang="en-N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A5D43488-07D2-C88B-94AC-A3738725201B}"/>
              </a:ext>
            </a:extLst>
          </p:cNvPr>
          <p:cNvCxnSpPr>
            <a:cxnSpLocks/>
          </p:cNvCxnSpPr>
          <p:nvPr/>
        </p:nvCxnSpPr>
        <p:spPr>
          <a:xfrm>
            <a:off x="6358890" y="4520230"/>
            <a:ext cx="186690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0D8235AF-DAC4-EB79-9277-7D48F6B3CFAF}"/>
              </a:ext>
            </a:extLst>
          </p:cNvPr>
          <p:cNvCxnSpPr>
            <a:cxnSpLocks/>
          </p:cNvCxnSpPr>
          <p:nvPr/>
        </p:nvCxnSpPr>
        <p:spPr>
          <a:xfrm>
            <a:off x="6125368" y="2990409"/>
            <a:ext cx="281085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881DCE8D-45C8-6AB4-82D8-0FF2E1A71EEF}"/>
              </a:ext>
            </a:extLst>
          </p:cNvPr>
          <p:cNvCxnSpPr>
            <a:cxnSpLocks/>
          </p:cNvCxnSpPr>
          <p:nvPr/>
        </p:nvCxnSpPr>
        <p:spPr>
          <a:xfrm>
            <a:off x="6125368" y="2511589"/>
            <a:ext cx="281085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sp>
        <p:nvSpPr>
          <p:cNvPr id="197" name="Freeform: Shape 196">
            <a:extLst>
              <a:ext uri="{FF2B5EF4-FFF2-40B4-BE49-F238E27FC236}">
                <a16:creationId xmlns:a16="http://schemas.microsoft.com/office/drawing/2014/main" id="{8E831810-9631-5125-1ABF-C7C94D5E69CF}"/>
              </a:ext>
            </a:extLst>
          </p:cNvPr>
          <p:cNvSpPr/>
          <p:nvPr/>
        </p:nvSpPr>
        <p:spPr>
          <a:xfrm>
            <a:off x="3222719" y="1553949"/>
            <a:ext cx="252000" cy="1941760"/>
          </a:xfrm>
          <a:custGeom>
            <a:avLst/>
            <a:gdLst>
              <a:gd name="connsiteX0" fmla="*/ 0 w 195262"/>
              <a:gd name="connsiteY0" fmla="*/ 1936750 h 1936750"/>
              <a:gd name="connsiteX1" fmla="*/ 0 w 195262"/>
              <a:gd name="connsiteY1" fmla="*/ 0 h 1936750"/>
              <a:gd name="connsiteX2" fmla="*/ 195262 w 195262"/>
              <a:gd name="connsiteY2" fmla="*/ 0 h 193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5262" h="1936750">
                <a:moveTo>
                  <a:pt x="0" y="1936750"/>
                </a:moveTo>
                <a:lnTo>
                  <a:pt x="0" y="0"/>
                </a:lnTo>
                <a:lnTo>
                  <a:pt x="195262" y="0"/>
                </a:lnTo>
              </a:path>
            </a:pathLst>
          </a:custGeom>
          <a:noFill/>
          <a:ln w="15875" cap="flat" cmpd="sng" algn="ctr">
            <a:solidFill>
              <a:srgbClr val="000000"/>
            </a:solidFill>
            <a:prstDash val="solid"/>
            <a:miter lim="800000"/>
            <a:tailEnd type="triangle" w="sm" len="sm"/>
          </a:ln>
          <a:effectLst/>
        </p:spPr>
        <p:txBody>
          <a:bodyPr rtlCol="0" anchor="ctr"/>
          <a:lstStyle/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55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23FE289F-54A2-1FA0-7799-24465288FA05}"/>
              </a:ext>
            </a:extLst>
          </p:cNvPr>
          <p:cNvCxnSpPr>
            <a:cxnSpLocks/>
            <a:stCxn id="183" idx="1"/>
          </p:cNvCxnSpPr>
          <p:nvPr/>
        </p:nvCxnSpPr>
        <p:spPr>
          <a:xfrm flipH="1" flipV="1">
            <a:off x="3452847" y="2032768"/>
            <a:ext cx="255061" cy="1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  <a:headEnd type="triangle" w="sm" len="sm"/>
            <a:tailEnd type="none"/>
          </a:ln>
          <a:effectLst/>
        </p:spPr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A07BA18A-5CA0-1F64-5DB7-76F50079E02A}"/>
              </a:ext>
            </a:extLst>
          </p:cNvPr>
          <p:cNvCxnSpPr>
            <a:cxnSpLocks/>
          </p:cNvCxnSpPr>
          <p:nvPr/>
        </p:nvCxnSpPr>
        <p:spPr>
          <a:xfrm flipH="1">
            <a:off x="3087478" y="3501772"/>
            <a:ext cx="846000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  <a:headEnd type="triangle" w="sm" len="sm"/>
          </a:ln>
          <a:effectLst/>
        </p:spPr>
      </p:cxnSp>
      <p:cxnSp>
        <p:nvCxnSpPr>
          <p:cNvPr id="202" name="Straight Connector 201">
            <a:extLst>
              <a:ext uri="{FF2B5EF4-FFF2-40B4-BE49-F238E27FC236}">
                <a16:creationId xmlns:a16="http://schemas.microsoft.com/office/drawing/2014/main" id="{16A24957-F36E-E60F-23FD-A7151BEED323}"/>
              </a:ext>
            </a:extLst>
          </p:cNvPr>
          <p:cNvCxnSpPr>
            <a:cxnSpLocks/>
          </p:cNvCxnSpPr>
          <p:nvPr/>
        </p:nvCxnSpPr>
        <p:spPr>
          <a:xfrm>
            <a:off x="3452847" y="2034540"/>
            <a:ext cx="0" cy="145796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92C029FC-9593-B85C-A4F2-8FBD1ABBC13F}"/>
              </a:ext>
            </a:extLst>
          </p:cNvPr>
          <p:cNvCxnSpPr>
            <a:cxnSpLocks/>
          </p:cNvCxnSpPr>
          <p:nvPr/>
        </p:nvCxnSpPr>
        <p:spPr>
          <a:xfrm flipV="1">
            <a:off x="3580626" y="3507740"/>
            <a:ext cx="0" cy="152908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DB57E29A-E631-D51C-102D-08D784E5E924}"/>
              </a:ext>
            </a:extLst>
          </p:cNvPr>
          <p:cNvCxnSpPr>
            <a:cxnSpLocks/>
          </p:cNvCxnSpPr>
          <p:nvPr/>
        </p:nvCxnSpPr>
        <p:spPr>
          <a:xfrm flipH="1">
            <a:off x="3703683" y="3999218"/>
            <a:ext cx="1184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  <a:headEnd type="triangle" w="sm" len="sm"/>
          </a:ln>
          <a:effectLst/>
        </p:spPr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70BED4EA-3305-BB08-921E-29D4082D7610}"/>
              </a:ext>
            </a:extLst>
          </p:cNvPr>
          <p:cNvCxnSpPr>
            <a:cxnSpLocks/>
          </p:cNvCxnSpPr>
          <p:nvPr/>
        </p:nvCxnSpPr>
        <p:spPr>
          <a:xfrm flipV="1">
            <a:off x="4617960" y="3497569"/>
            <a:ext cx="2085082" cy="8407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28E03EB1-0953-A677-D5B0-25BEAD5DC60C}"/>
              </a:ext>
            </a:extLst>
          </p:cNvPr>
          <p:cNvCxnSpPr>
            <a:cxnSpLocks/>
          </p:cNvCxnSpPr>
          <p:nvPr/>
        </p:nvCxnSpPr>
        <p:spPr>
          <a:xfrm>
            <a:off x="5884429" y="1553949"/>
            <a:ext cx="655156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01764E71-58E2-14DB-C4F0-737FBB4B39AA}"/>
              </a:ext>
            </a:extLst>
          </p:cNvPr>
          <p:cNvCxnSpPr>
            <a:cxnSpLocks/>
          </p:cNvCxnSpPr>
          <p:nvPr/>
        </p:nvCxnSpPr>
        <p:spPr>
          <a:xfrm>
            <a:off x="6125368" y="2032769"/>
            <a:ext cx="281085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04D91FF2-8ED2-1478-5E8E-C2E72ED7D1A9}"/>
              </a:ext>
            </a:extLst>
          </p:cNvPr>
          <p:cNvCxnSpPr>
            <a:cxnSpLocks/>
          </p:cNvCxnSpPr>
          <p:nvPr/>
        </p:nvCxnSpPr>
        <p:spPr>
          <a:xfrm>
            <a:off x="6416547" y="2032000"/>
            <a:ext cx="0" cy="146558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A08948D9-9B96-C44C-63FA-0017A6CCFBE2}"/>
              </a:ext>
            </a:extLst>
          </p:cNvPr>
          <p:cNvCxnSpPr>
            <a:cxnSpLocks/>
          </p:cNvCxnSpPr>
          <p:nvPr/>
        </p:nvCxnSpPr>
        <p:spPr>
          <a:xfrm flipH="1">
            <a:off x="3580625" y="4520230"/>
            <a:ext cx="360000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  <a:headEnd type="triangle" w="sm" len="sm"/>
          </a:ln>
          <a:effectLst/>
        </p:spPr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7F146A60-9EEA-ED0D-A3A3-3E6909B1E1CE}"/>
              </a:ext>
            </a:extLst>
          </p:cNvPr>
          <p:cNvCxnSpPr>
            <a:cxnSpLocks/>
          </p:cNvCxnSpPr>
          <p:nvPr/>
        </p:nvCxnSpPr>
        <p:spPr>
          <a:xfrm flipH="1">
            <a:off x="3597128" y="5035766"/>
            <a:ext cx="468000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  <a:headEnd type="triangle" w="sm" len="sm"/>
          </a:ln>
          <a:effectLst/>
        </p:spPr>
      </p:cxnSp>
      <p:sp>
        <p:nvSpPr>
          <p:cNvPr id="190" name="Vertical Text Placeholder 2">
            <a:extLst>
              <a:ext uri="{FF2B5EF4-FFF2-40B4-BE49-F238E27FC236}">
                <a16:creationId xmlns:a16="http://schemas.microsoft.com/office/drawing/2014/main" id="{8C038F7D-8145-1304-BF1B-D2900F22144B}"/>
              </a:ext>
            </a:extLst>
          </p:cNvPr>
          <p:cNvSpPr txBox="1">
            <a:spLocks/>
          </p:cNvSpPr>
          <p:nvPr/>
        </p:nvSpPr>
        <p:spPr>
          <a:xfrm>
            <a:off x="3928042" y="3252037"/>
            <a:ext cx="2425111" cy="499470"/>
          </a:xfrm>
          <a:prstGeom prst="rect">
            <a:avLst/>
          </a:prstGeom>
          <a:solidFill>
            <a:srgbClr val="AB95C7"/>
          </a:solidFill>
          <a:ln w="15875">
            <a:solidFill>
              <a:srgbClr val="000000"/>
            </a:solidFill>
            <a:prstDash val="dash"/>
          </a:ln>
        </p:spPr>
        <p:txBody>
          <a:bodyPr vert="horz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1.9 (9W) to 1.4 mg/kg Q9/12W, </a:t>
            </a:r>
            <a:br>
              <a:rPr kumimoji="0" lang="en-NZ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very third SOC cycle</a:t>
            </a:r>
            <a:b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(n=19)</a:t>
            </a:r>
            <a:endParaRPr kumimoji="0" lang="en-N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EFAC5E9F-A4AC-C8D8-1B67-4D59E43D9BCC}"/>
              </a:ext>
            </a:extLst>
          </p:cNvPr>
          <p:cNvCxnSpPr>
            <a:cxnSpLocks/>
          </p:cNvCxnSpPr>
          <p:nvPr/>
        </p:nvCxnSpPr>
        <p:spPr>
          <a:xfrm flipV="1">
            <a:off x="6130847" y="4011682"/>
            <a:ext cx="418110" cy="2907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8C87D012-BDC6-E162-106F-813403154029}"/>
              </a:ext>
            </a:extLst>
          </p:cNvPr>
          <p:cNvCxnSpPr>
            <a:cxnSpLocks/>
          </p:cNvCxnSpPr>
          <p:nvPr/>
        </p:nvCxnSpPr>
        <p:spPr>
          <a:xfrm>
            <a:off x="6198794" y="5035766"/>
            <a:ext cx="350163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BCC38807-4B1A-D445-8470-A211CE61AA83}"/>
              </a:ext>
            </a:extLst>
          </p:cNvPr>
          <p:cNvCxnSpPr>
            <a:cxnSpLocks/>
          </p:cNvCxnSpPr>
          <p:nvPr/>
        </p:nvCxnSpPr>
        <p:spPr>
          <a:xfrm>
            <a:off x="6555532" y="3495712"/>
            <a:ext cx="0" cy="1539203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F9241856-8A91-93B5-6BE6-69E287BBAECF}"/>
              </a:ext>
            </a:extLst>
          </p:cNvPr>
          <p:cNvCxnSpPr>
            <a:cxnSpLocks/>
          </p:cNvCxnSpPr>
          <p:nvPr/>
        </p:nvCxnSpPr>
        <p:spPr>
          <a:xfrm>
            <a:off x="6548957" y="1553949"/>
            <a:ext cx="6575" cy="1926681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</a:ln>
          <a:effectLst/>
        </p:spPr>
      </p:cxnSp>
      <p:sp>
        <p:nvSpPr>
          <p:cNvPr id="181" name="Vertical Text Placeholder 2">
            <a:extLst>
              <a:ext uri="{FF2B5EF4-FFF2-40B4-BE49-F238E27FC236}">
                <a16:creationId xmlns:a16="http://schemas.microsoft.com/office/drawing/2014/main" id="{0A0A30FF-2CD4-2D85-A843-16CAA3C08CE0}"/>
              </a:ext>
            </a:extLst>
          </p:cNvPr>
          <p:cNvSpPr txBox="1">
            <a:spLocks/>
          </p:cNvSpPr>
          <p:nvPr/>
        </p:nvSpPr>
        <p:spPr>
          <a:xfrm>
            <a:off x="3474867" y="1336757"/>
            <a:ext cx="2878286" cy="434384"/>
          </a:xfrm>
          <a:prstGeom prst="rect">
            <a:avLst/>
          </a:prstGeom>
          <a:solidFill>
            <a:srgbClr val="FFC709"/>
          </a:solidFill>
          <a:ln w="15875">
            <a:solidFill>
              <a:srgbClr val="000000"/>
            </a:solidFill>
            <a:prstDash val="dash"/>
          </a:ln>
        </p:spPr>
        <p:txBody>
          <a:bodyPr vert="horz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1.9 mg/kg Q3/4W</a:t>
            </a:r>
            <a:r>
              <a:rPr kumimoji="0" lang="en-NZ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,</a:t>
            </a: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b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very SOC cycle</a:t>
            </a:r>
            <a:b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(n=12)</a:t>
            </a:r>
            <a:endParaRPr kumimoji="0" lang="en-N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3" name="Vertical Text Placeholder 2">
            <a:extLst>
              <a:ext uri="{FF2B5EF4-FFF2-40B4-BE49-F238E27FC236}">
                <a16:creationId xmlns:a16="http://schemas.microsoft.com/office/drawing/2014/main" id="{561C1F7D-FA18-3CE7-F0F2-29C6C6BB06FF}"/>
              </a:ext>
            </a:extLst>
          </p:cNvPr>
          <p:cNvSpPr txBox="1">
            <a:spLocks/>
          </p:cNvSpPr>
          <p:nvPr/>
        </p:nvSpPr>
        <p:spPr>
          <a:xfrm>
            <a:off x="3707908" y="1815577"/>
            <a:ext cx="2645245" cy="434384"/>
          </a:xfrm>
          <a:prstGeom prst="rect">
            <a:avLst/>
          </a:prstGeom>
          <a:solidFill>
            <a:srgbClr val="00B8AD"/>
          </a:solidFill>
          <a:ln w="15875">
            <a:solidFill>
              <a:srgbClr val="000000"/>
            </a:solidFill>
            <a:prstDash val="dash"/>
          </a:ln>
        </p:spPr>
        <p:txBody>
          <a:bodyPr vert="horz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1.9 mg/kg Q6/8W, </a:t>
            </a:r>
            <a:b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very other SOC cycle</a:t>
            </a:r>
            <a:b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(n=12)</a:t>
            </a:r>
            <a:endParaRPr kumimoji="0" lang="en-N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4" name="Vertical Text Placeholder 2">
            <a:extLst>
              <a:ext uri="{FF2B5EF4-FFF2-40B4-BE49-F238E27FC236}">
                <a16:creationId xmlns:a16="http://schemas.microsoft.com/office/drawing/2014/main" id="{D7E6D5DA-5089-85D6-308D-6829EC17CCBE}"/>
              </a:ext>
            </a:extLst>
          </p:cNvPr>
          <p:cNvSpPr txBox="1">
            <a:spLocks/>
          </p:cNvSpPr>
          <p:nvPr/>
        </p:nvSpPr>
        <p:spPr>
          <a:xfrm>
            <a:off x="3707908" y="2294397"/>
            <a:ext cx="2645245" cy="434384"/>
          </a:xfrm>
          <a:prstGeom prst="rect">
            <a:avLst/>
          </a:prstGeom>
          <a:solidFill>
            <a:srgbClr val="00B8AD"/>
          </a:solidFill>
          <a:ln w="15875">
            <a:solidFill>
              <a:srgbClr val="000000"/>
            </a:solidFill>
            <a:prstDash val="dash"/>
          </a:ln>
        </p:spPr>
        <p:txBody>
          <a:bodyPr vert="horz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1.4 mg/kg Q3/4W, </a:t>
            </a:r>
            <a:b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very SOC cycle</a:t>
            </a:r>
            <a:b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(n=13)</a:t>
            </a:r>
            <a:endParaRPr kumimoji="0" lang="en-N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6" name="Vertical Text Placeholder 2">
            <a:extLst>
              <a:ext uri="{FF2B5EF4-FFF2-40B4-BE49-F238E27FC236}">
                <a16:creationId xmlns:a16="http://schemas.microsoft.com/office/drawing/2014/main" id="{53C336CF-5211-C2E7-C331-EFB991EFCFA6}"/>
              </a:ext>
            </a:extLst>
          </p:cNvPr>
          <p:cNvSpPr txBox="1">
            <a:spLocks/>
          </p:cNvSpPr>
          <p:nvPr/>
        </p:nvSpPr>
        <p:spPr>
          <a:xfrm>
            <a:off x="3707908" y="2773217"/>
            <a:ext cx="2645245" cy="434384"/>
          </a:xfrm>
          <a:prstGeom prst="rect">
            <a:avLst/>
          </a:prstGeom>
          <a:solidFill>
            <a:srgbClr val="00B8AD"/>
          </a:solidFill>
          <a:ln w="15875">
            <a:solidFill>
              <a:srgbClr val="000000"/>
            </a:solidFill>
            <a:prstDash val="dash"/>
          </a:ln>
        </p:spPr>
        <p:txBody>
          <a:bodyPr vert="horz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1.4 mg/kg Q6/8W, </a:t>
            </a:r>
            <a:br>
              <a:rPr kumimoji="0" lang="en-NZ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very other SOC cycle</a:t>
            </a:r>
            <a:b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(n=12)</a:t>
            </a:r>
            <a:endParaRPr kumimoji="0" lang="en-N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66A7CFFD-FAF6-618F-0E10-D62985F8A6AD}"/>
              </a:ext>
            </a:extLst>
          </p:cNvPr>
          <p:cNvSpPr/>
          <p:nvPr/>
        </p:nvSpPr>
        <p:spPr bwMode="auto">
          <a:xfrm>
            <a:off x="3627752" y="3947661"/>
            <a:ext cx="72000" cy="847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121917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EC9D9927-0699-B447-AC0B-C2D871FC3491}"/>
              </a:ext>
            </a:extLst>
          </p:cNvPr>
          <p:cNvCxnSpPr>
            <a:cxnSpLocks/>
          </p:cNvCxnSpPr>
          <p:nvPr/>
        </p:nvCxnSpPr>
        <p:spPr>
          <a:xfrm flipH="1">
            <a:off x="3590539" y="4013135"/>
            <a:ext cx="126000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  <a:headEnd type="triangle" w="sm" len="sm"/>
          </a:ln>
          <a:effectLst/>
        </p:spPr>
      </p:cxnSp>
      <p:sp>
        <p:nvSpPr>
          <p:cNvPr id="210" name="Vertical Text Placeholder 2">
            <a:extLst>
              <a:ext uri="{FF2B5EF4-FFF2-40B4-BE49-F238E27FC236}">
                <a16:creationId xmlns:a16="http://schemas.microsoft.com/office/drawing/2014/main" id="{403CF106-997B-790C-41D2-BA64A6CA9400}"/>
              </a:ext>
            </a:extLst>
          </p:cNvPr>
          <p:cNvSpPr txBox="1">
            <a:spLocks/>
          </p:cNvSpPr>
          <p:nvPr/>
        </p:nvSpPr>
        <p:spPr>
          <a:xfrm>
            <a:off x="4060352" y="4810131"/>
            <a:ext cx="2292801" cy="45127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5875">
            <a:solidFill>
              <a:srgbClr val="000000"/>
            </a:solidFill>
            <a:prstDash val="dash"/>
          </a:ln>
        </p:spPr>
        <p:txBody>
          <a:bodyPr vert="horz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1.0 mg/kg Q12W, </a:t>
            </a:r>
            <a:br>
              <a:rPr kumimoji="0" lang="en-NZ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very third/fourth SOC cycle</a:t>
            </a:r>
            <a:b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(n=10)</a:t>
            </a:r>
            <a:endParaRPr kumimoji="0" lang="en-N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7A9CD1-5A96-1A83-4980-51180EAF5373}"/>
              </a:ext>
            </a:extLst>
          </p:cNvPr>
          <p:cNvSpPr txBox="1"/>
          <p:nvPr/>
        </p:nvSpPr>
        <p:spPr>
          <a:xfrm>
            <a:off x="3474719" y="1107265"/>
            <a:ext cx="2878434" cy="210579"/>
          </a:xfrm>
          <a:prstGeom prst="rect">
            <a:avLst/>
          </a:prstGeom>
          <a:noFill/>
        </p:spPr>
        <p:txBody>
          <a:bodyPr wrap="square" lIns="180000" tIns="180000" rIns="180000" bIns="180000" rtlCol="0" anchor="ctr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lamaf dosing cohorts*</a:t>
            </a:r>
          </a:p>
        </p:txBody>
      </p:sp>
      <p:sp>
        <p:nvSpPr>
          <p:cNvPr id="211" name="Vertical Text Placeholder 2">
            <a:extLst>
              <a:ext uri="{FF2B5EF4-FFF2-40B4-BE49-F238E27FC236}">
                <a16:creationId xmlns:a16="http://schemas.microsoft.com/office/drawing/2014/main" id="{4860BF2C-4638-E6E2-36A8-448FFE41845B}"/>
              </a:ext>
            </a:extLst>
          </p:cNvPr>
          <p:cNvSpPr txBox="1">
            <a:spLocks/>
          </p:cNvSpPr>
          <p:nvPr/>
        </p:nvSpPr>
        <p:spPr>
          <a:xfrm>
            <a:off x="2621673" y="3313500"/>
            <a:ext cx="554544" cy="376544"/>
          </a:xfrm>
          <a:prstGeom prst="rect">
            <a:avLst/>
          </a:prstGeom>
          <a:solidFill>
            <a:srgbClr val="69B445"/>
          </a:solidFill>
          <a:ln w="12700">
            <a:solidFill>
              <a:srgbClr val="69B445"/>
            </a:solidFill>
          </a:ln>
        </p:spPr>
        <p:txBody>
          <a:bodyPr vert="horz" lIns="0" tIns="0" rIns="0" bIns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NZ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Screening phase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12" name="Vertical Text Placeholder 2">
            <a:extLst>
              <a:ext uri="{FF2B5EF4-FFF2-40B4-BE49-F238E27FC236}">
                <a16:creationId xmlns:a16="http://schemas.microsoft.com/office/drawing/2014/main" id="{1475331E-4C9D-370C-5C19-66B807C79E4B}"/>
              </a:ext>
            </a:extLst>
          </p:cNvPr>
          <p:cNvSpPr txBox="1">
            <a:spLocks/>
          </p:cNvSpPr>
          <p:nvPr/>
        </p:nvSpPr>
        <p:spPr>
          <a:xfrm>
            <a:off x="6643239" y="3313500"/>
            <a:ext cx="597456" cy="376545"/>
          </a:xfrm>
          <a:prstGeom prst="rect">
            <a:avLst/>
          </a:prstGeom>
          <a:solidFill>
            <a:srgbClr val="244EA2"/>
          </a:solidFill>
          <a:ln w="12700">
            <a:solidFill>
              <a:srgbClr val="244EA2"/>
            </a:solidFill>
          </a:ln>
        </p:spPr>
        <p:txBody>
          <a:bodyPr vert="horz" lIns="0" tIns="0" rIns="0" bIns="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NZ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Safety follow-up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 Placeholder 47">
            <a:extLst>
              <a:ext uri="{FF2B5EF4-FFF2-40B4-BE49-F238E27FC236}">
                <a16:creationId xmlns:a16="http://schemas.microsoft.com/office/drawing/2014/main" id="{0E5B7C29-0F69-8F04-5555-E345AE6A4F3A}"/>
              </a:ext>
            </a:extLst>
          </p:cNvPr>
          <p:cNvSpPr txBox="1">
            <a:spLocks/>
          </p:cNvSpPr>
          <p:nvPr/>
        </p:nvSpPr>
        <p:spPr>
          <a:xfrm>
            <a:off x="365125" y="5805264"/>
            <a:ext cx="11083924" cy="522287"/>
          </a:xfrm>
          <a:prstGeom prst="rect">
            <a:avLst/>
          </a:prstGeom>
        </p:spPr>
        <p:txBody>
          <a:bodyPr vert="horz" wrap="square" lIns="0" tIns="72000" rIns="0" bIns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54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98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142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996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Cohorts of the same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or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pened at the same time. Cohorts with longer rectangles opened earlier.</a:t>
            </a:r>
            <a:b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A, anti-drug antibodies; AE, adverse event; ASCT, autologous stem cell transplant;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lamaf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lantamab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fodotin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CR, complete response; DLT, dose-limiting toxicities; ECOG, Eastern Cooperative Oncology Group; HDT, high-dose chemotherapy; IMWG, International Myeloma Working Group; MM, multiple myeloma; MRD, minimal residual disease; ORR, overall response rate; PK, pharmacokinetics; PR, partial response;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xW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every x weeks; RDI, relative dose intensity; SMM, smouldering MM; SOC, standard of care; VGPR, very good partial response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0D5AEEA3-D7C2-AADB-FBED-916BFE481CD7}"/>
              </a:ext>
            </a:extLst>
          </p:cNvPr>
          <p:cNvSpPr/>
          <p:nvPr/>
        </p:nvSpPr>
        <p:spPr>
          <a:xfrm>
            <a:off x="502195" y="1089025"/>
            <a:ext cx="1945567" cy="392133"/>
          </a:xfrm>
          <a:prstGeom prst="round2SameRect">
            <a:avLst>
              <a:gd name="adj1" fmla="val 32049"/>
              <a:gd name="adj2" fmla="val 0"/>
            </a:avLst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tIns="182880" rIns="182880" bIns="182880" rtlCol="0" anchor="ctr"/>
          <a:lstStyle/>
          <a:p>
            <a:pPr marL="0" marR="0" lvl="0" indent="0" algn="ctr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lusion criteri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8C77BE2-DFCE-2DDC-0B20-6D674853DCD5}"/>
              </a:ext>
            </a:extLst>
          </p:cNvPr>
          <p:cNvSpPr/>
          <p:nvPr/>
        </p:nvSpPr>
        <p:spPr bwMode="auto">
          <a:xfrm>
            <a:off x="496955" y="3347586"/>
            <a:ext cx="1950427" cy="313220"/>
          </a:xfrm>
          <a:prstGeom prst="rect">
            <a:avLst/>
          </a:prstGeom>
          <a:solidFill>
            <a:schemeClr val="tx2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80000" rIns="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Exclusion criteria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D9FB3B9-1814-8298-2441-3389C2248339}"/>
              </a:ext>
            </a:extLst>
          </p:cNvPr>
          <p:cNvSpPr/>
          <p:nvPr/>
        </p:nvSpPr>
        <p:spPr>
          <a:xfrm>
            <a:off x="7422680" y="1089024"/>
            <a:ext cx="1945567" cy="4609556"/>
          </a:xfrm>
          <a:prstGeom prst="roundRect">
            <a:avLst>
              <a:gd name="adj" fmla="val 8098"/>
            </a:avLst>
          </a:prstGeom>
          <a:solidFill>
            <a:schemeClr val="bg1"/>
          </a:solidFill>
          <a:ln w="25400" cap="flat" cmpd="sng" algn="ctr">
            <a:noFill/>
            <a:prstDash val="solid"/>
            <a:miter lim="800000"/>
          </a:ln>
          <a:effectLst>
            <a:outerShdw blurRad="63500" algn="tl" rotWithShape="0">
              <a:prstClr val="black">
                <a:alpha val="20000"/>
              </a:prstClr>
            </a:outerShdw>
          </a:effectLst>
        </p:spPr>
        <p:txBody>
          <a:bodyPr tIns="63665" bIns="63665" rtlCol="0" anchor="ctr">
            <a:normAutofit/>
          </a:bodyPr>
          <a:lstStyle/>
          <a:p>
            <a:pPr marL="0" marR="0" lvl="0" indent="0" algn="ctr" defTabSz="1410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>
              <a:ln>
                <a:noFill/>
              </a:ln>
              <a:solidFill>
                <a:srgbClr val="9595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Vertical Text Placeholder 2">
            <a:extLst>
              <a:ext uri="{FF2B5EF4-FFF2-40B4-BE49-F238E27FC236}">
                <a16:creationId xmlns:a16="http://schemas.microsoft.com/office/drawing/2014/main" id="{D2B4E7CD-E236-3560-DBEC-3C7DF90A5C6C}"/>
              </a:ext>
            </a:extLst>
          </p:cNvPr>
          <p:cNvSpPr txBox="1">
            <a:spLocks/>
          </p:cNvSpPr>
          <p:nvPr/>
        </p:nvSpPr>
        <p:spPr>
          <a:xfrm>
            <a:off x="7419727" y="1425477"/>
            <a:ext cx="1950427" cy="3082102"/>
          </a:xfrm>
          <a:prstGeom prst="rect">
            <a:avLst/>
          </a:prstGeom>
          <a:noFill/>
        </p:spPr>
        <p:txBody>
          <a:bodyPr vert="horz" lIns="91440" tIns="91440" rIns="72000" bIns="0" anchor="t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Safety (DLTs and AE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NZ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NZ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fficacy (ORR, ≥CR, ≥VGPR per IMWG criteria) 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RDI of lenalidomide </a:t>
            </a:r>
            <a:b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and bortezomib after </a:t>
            </a:r>
            <a:b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4 cycles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Cumulative administered </a:t>
            </a:r>
            <a:r>
              <a:rPr kumimoji="0" lang="en-NZ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belamaf</a:t>
            </a: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 dose after 4 cycles </a:t>
            </a:r>
            <a:b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with </a:t>
            </a:r>
            <a:r>
              <a:rPr kumimoji="0" lang="en-NZ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VRd</a:t>
            </a:r>
            <a:endParaRPr kumimoji="0" lang="en-NZ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Incidence and </a:t>
            </a:r>
            <a:r>
              <a:rPr kumimoji="0" lang="en-NZ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titers</a:t>
            </a: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 of ADAs </a:t>
            </a: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PK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NZ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NZ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15888" marR="0" lvl="0" indent="-115888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3663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MRD negativity </a:t>
            </a:r>
            <a:b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(assessed in bone </a:t>
            </a:r>
            <a:b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marrow aspirate samples using next-generation sequencing [10</a:t>
            </a:r>
            <a:r>
              <a:rPr kumimoji="0" lang="en-US" sz="105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–5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]).</a:t>
            </a:r>
            <a:endParaRPr kumimoji="0" lang="en-NZ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NZ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EAD9D87F-19ED-AF54-FA36-F6E54E5814E7}"/>
              </a:ext>
            </a:extLst>
          </p:cNvPr>
          <p:cNvSpPr/>
          <p:nvPr/>
        </p:nvSpPr>
        <p:spPr>
          <a:xfrm>
            <a:off x="7422680" y="1089025"/>
            <a:ext cx="1945567" cy="392134"/>
          </a:xfrm>
          <a:prstGeom prst="round2SameRect">
            <a:avLst>
              <a:gd name="adj1" fmla="val 32049"/>
              <a:gd name="adj2" fmla="val 0"/>
            </a:avLst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0" bIns="182880" rtlCol="0" anchor="ctr"/>
          <a:lstStyle/>
          <a:p>
            <a:pPr marL="0" marR="0" lvl="0" indent="0" algn="ctr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mary endpoint: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9390FC-8B73-E0E1-5271-F55DA655E0CE}"/>
              </a:ext>
            </a:extLst>
          </p:cNvPr>
          <p:cNvSpPr/>
          <p:nvPr/>
        </p:nvSpPr>
        <p:spPr bwMode="auto">
          <a:xfrm>
            <a:off x="7417440" y="1776435"/>
            <a:ext cx="1950427" cy="313220"/>
          </a:xfrm>
          <a:prstGeom prst="rect">
            <a:avLst/>
          </a:prstGeom>
          <a:solidFill>
            <a:schemeClr val="tx2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80000" rIns="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Secondary endpoin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D0C3055-CF0E-B15E-9572-A95E09A8A917}"/>
              </a:ext>
            </a:extLst>
          </p:cNvPr>
          <p:cNvSpPr/>
          <p:nvPr/>
        </p:nvSpPr>
        <p:spPr bwMode="auto">
          <a:xfrm>
            <a:off x="7417440" y="4164066"/>
            <a:ext cx="1950427" cy="313220"/>
          </a:xfrm>
          <a:prstGeom prst="rect">
            <a:avLst/>
          </a:prstGeom>
          <a:solidFill>
            <a:schemeClr val="tx2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80000" rIns="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NZ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+mn-cs"/>
              </a:rPr>
              <a:t>Exploratory endpoint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2E678C08-8521-BE81-5F90-15B74FB0FD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77751" y="1140581"/>
            <a:ext cx="206438" cy="232791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4A5BC47D-3D3A-162F-C563-E420ECA0E2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542586" y="1154108"/>
            <a:ext cx="213318" cy="261969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7E1C1E93-3E48-9BFF-AB64-0DDA2C867975}"/>
              </a:ext>
            </a:extLst>
          </p:cNvPr>
          <p:cNvGrpSpPr/>
          <p:nvPr/>
        </p:nvGrpSpPr>
        <p:grpSpPr>
          <a:xfrm>
            <a:off x="2733829" y="2745071"/>
            <a:ext cx="343080" cy="343080"/>
            <a:chOff x="2342570" y="2755069"/>
            <a:chExt cx="343080" cy="343080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7F494DCE-76FF-1E7E-EA89-3469552B60F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42570" y="2755069"/>
              <a:ext cx="343080" cy="343080"/>
            </a:xfrm>
            <a:custGeom>
              <a:avLst/>
              <a:gdLst>
                <a:gd name="connsiteX0" fmla="*/ 204696 w 885249"/>
                <a:gd name="connsiteY0" fmla="*/ 0 h 885249"/>
                <a:gd name="connsiteX1" fmla="*/ 623174 w 885249"/>
                <a:gd name="connsiteY1" fmla="*/ 0 h 885249"/>
                <a:gd name="connsiteX2" fmla="*/ 680553 w 885249"/>
                <a:gd name="connsiteY2" fmla="*/ 0 h 885249"/>
                <a:gd name="connsiteX3" fmla="*/ 885249 w 885249"/>
                <a:gd name="connsiteY3" fmla="*/ 0 h 885249"/>
                <a:gd name="connsiteX4" fmla="*/ 885249 w 885249"/>
                <a:gd name="connsiteY4" fmla="*/ 204696 h 885249"/>
                <a:gd name="connsiteX5" fmla="*/ 885249 w 885249"/>
                <a:gd name="connsiteY5" fmla="*/ 262075 h 885249"/>
                <a:gd name="connsiteX6" fmla="*/ 885249 w 885249"/>
                <a:gd name="connsiteY6" fmla="*/ 680553 h 885249"/>
                <a:gd name="connsiteX7" fmla="*/ 680553 w 885249"/>
                <a:gd name="connsiteY7" fmla="*/ 885249 h 885249"/>
                <a:gd name="connsiteX8" fmla="*/ 204696 w 885249"/>
                <a:gd name="connsiteY8" fmla="*/ 885249 h 885249"/>
                <a:gd name="connsiteX9" fmla="*/ 0 w 885249"/>
                <a:gd name="connsiteY9" fmla="*/ 680553 h 885249"/>
                <a:gd name="connsiteX10" fmla="*/ 0 w 885249"/>
                <a:gd name="connsiteY10" fmla="*/ 204696 h 885249"/>
                <a:gd name="connsiteX11" fmla="*/ 204696 w 885249"/>
                <a:gd name="connsiteY11" fmla="*/ 0 h 88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249" h="885249">
                  <a:moveTo>
                    <a:pt x="204696" y="0"/>
                  </a:moveTo>
                  <a:lnTo>
                    <a:pt x="623174" y="0"/>
                  </a:lnTo>
                  <a:lnTo>
                    <a:pt x="680553" y="0"/>
                  </a:lnTo>
                  <a:lnTo>
                    <a:pt x="885249" y="0"/>
                  </a:lnTo>
                  <a:lnTo>
                    <a:pt x="885249" y="204696"/>
                  </a:lnTo>
                  <a:lnTo>
                    <a:pt x="885249" y="262075"/>
                  </a:lnTo>
                  <a:lnTo>
                    <a:pt x="885249" y="680553"/>
                  </a:lnTo>
                  <a:cubicBezTo>
                    <a:pt x="885249" y="793603"/>
                    <a:pt x="793603" y="885249"/>
                    <a:pt x="680553" y="885249"/>
                  </a:cubicBezTo>
                  <a:lnTo>
                    <a:pt x="204696" y="885249"/>
                  </a:lnTo>
                  <a:cubicBezTo>
                    <a:pt x="91646" y="885249"/>
                    <a:pt x="0" y="793603"/>
                    <a:pt x="0" y="680553"/>
                  </a:cubicBezTo>
                  <a:lnTo>
                    <a:pt x="0" y="204696"/>
                  </a:lnTo>
                  <a:cubicBezTo>
                    <a:pt x="0" y="91646"/>
                    <a:pt x="91646" y="0"/>
                    <a:pt x="20469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  <a:headEnd/>
              <a:tailEnd/>
            </a:ln>
            <a:effectLst>
              <a:outerShdw blurRad="63500" algn="ctr" rotWithShape="0">
                <a:schemeClr val="tx1">
                  <a:alpha val="25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rtl="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ABA3D10E-B6A8-3A8F-EB15-5C4CA39BD31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449841" y="2813067"/>
              <a:ext cx="128539" cy="227084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F1E4888-8DCE-8A26-3743-80A2BFC99538}"/>
              </a:ext>
            </a:extLst>
          </p:cNvPr>
          <p:cNvGrpSpPr/>
          <p:nvPr/>
        </p:nvGrpSpPr>
        <p:grpSpPr>
          <a:xfrm>
            <a:off x="6793842" y="2745071"/>
            <a:ext cx="343080" cy="343080"/>
            <a:chOff x="2342570" y="2755069"/>
            <a:chExt cx="343080" cy="343080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4197B801-0FC1-DFEA-299B-9A26AFCDD05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42570" y="2755069"/>
              <a:ext cx="343080" cy="343080"/>
            </a:xfrm>
            <a:custGeom>
              <a:avLst/>
              <a:gdLst>
                <a:gd name="connsiteX0" fmla="*/ 204696 w 885249"/>
                <a:gd name="connsiteY0" fmla="*/ 0 h 885249"/>
                <a:gd name="connsiteX1" fmla="*/ 623174 w 885249"/>
                <a:gd name="connsiteY1" fmla="*/ 0 h 885249"/>
                <a:gd name="connsiteX2" fmla="*/ 680553 w 885249"/>
                <a:gd name="connsiteY2" fmla="*/ 0 h 885249"/>
                <a:gd name="connsiteX3" fmla="*/ 885249 w 885249"/>
                <a:gd name="connsiteY3" fmla="*/ 0 h 885249"/>
                <a:gd name="connsiteX4" fmla="*/ 885249 w 885249"/>
                <a:gd name="connsiteY4" fmla="*/ 204696 h 885249"/>
                <a:gd name="connsiteX5" fmla="*/ 885249 w 885249"/>
                <a:gd name="connsiteY5" fmla="*/ 262075 h 885249"/>
                <a:gd name="connsiteX6" fmla="*/ 885249 w 885249"/>
                <a:gd name="connsiteY6" fmla="*/ 680553 h 885249"/>
                <a:gd name="connsiteX7" fmla="*/ 680553 w 885249"/>
                <a:gd name="connsiteY7" fmla="*/ 885249 h 885249"/>
                <a:gd name="connsiteX8" fmla="*/ 204696 w 885249"/>
                <a:gd name="connsiteY8" fmla="*/ 885249 h 885249"/>
                <a:gd name="connsiteX9" fmla="*/ 0 w 885249"/>
                <a:gd name="connsiteY9" fmla="*/ 680553 h 885249"/>
                <a:gd name="connsiteX10" fmla="*/ 0 w 885249"/>
                <a:gd name="connsiteY10" fmla="*/ 204696 h 885249"/>
                <a:gd name="connsiteX11" fmla="*/ 204696 w 885249"/>
                <a:gd name="connsiteY11" fmla="*/ 0 h 88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85249" h="885249">
                  <a:moveTo>
                    <a:pt x="204696" y="0"/>
                  </a:moveTo>
                  <a:lnTo>
                    <a:pt x="623174" y="0"/>
                  </a:lnTo>
                  <a:lnTo>
                    <a:pt x="680553" y="0"/>
                  </a:lnTo>
                  <a:lnTo>
                    <a:pt x="885249" y="0"/>
                  </a:lnTo>
                  <a:lnTo>
                    <a:pt x="885249" y="204696"/>
                  </a:lnTo>
                  <a:lnTo>
                    <a:pt x="885249" y="262075"/>
                  </a:lnTo>
                  <a:lnTo>
                    <a:pt x="885249" y="680553"/>
                  </a:lnTo>
                  <a:cubicBezTo>
                    <a:pt x="885249" y="793603"/>
                    <a:pt x="793603" y="885249"/>
                    <a:pt x="680553" y="885249"/>
                  </a:cubicBezTo>
                  <a:lnTo>
                    <a:pt x="204696" y="885249"/>
                  </a:lnTo>
                  <a:cubicBezTo>
                    <a:pt x="91646" y="885249"/>
                    <a:pt x="0" y="793603"/>
                    <a:pt x="0" y="680553"/>
                  </a:cubicBezTo>
                  <a:lnTo>
                    <a:pt x="0" y="204696"/>
                  </a:lnTo>
                  <a:cubicBezTo>
                    <a:pt x="0" y="91646"/>
                    <a:pt x="91646" y="0"/>
                    <a:pt x="20469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  <a:headEnd/>
              <a:tailEnd/>
            </a:ln>
            <a:effectLst>
              <a:outerShdw blurRad="63500" algn="ctr" rotWithShape="0">
                <a:schemeClr val="tx1">
                  <a:alpha val="25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rtl="0" eaLnBrk="0" fontAlgn="auto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36633"/>
                </a:buClr>
                <a:buSzPct val="110000"/>
                <a:buFontTx/>
                <a:buNone/>
                <a:tabLst/>
                <a:defRPr/>
              </a:pPr>
              <a:endPara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70A8D92B-91AB-0D89-DA8D-8C1364BB018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449841" y="2813067"/>
              <a:ext cx="128539" cy="227084"/>
            </a:xfrm>
            <a:prstGeom prst="rect">
              <a:avLst/>
            </a:prstGeom>
          </p:spPr>
        </p:pic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4772E94-0C79-0C00-A8EC-41F03AD233B2}"/>
              </a:ext>
            </a:extLst>
          </p:cNvPr>
          <p:cNvCxnSpPr>
            <a:cxnSpLocks/>
          </p:cNvCxnSpPr>
          <p:nvPr/>
        </p:nvCxnSpPr>
        <p:spPr>
          <a:xfrm rot="10800000">
            <a:off x="3461271" y="2990409"/>
            <a:ext cx="252000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  <a:headEnd type="triangle" w="sm" len="sm"/>
          </a:ln>
          <a:effectLst/>
        </p:spPr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1DCB3CB-445B-0D05-FD31-919A55A36FD4}"/>
              </a:ext>
            </a:extLst>
          </p:cNvPr>
          <p:cNvCxnSpPr>
            <a:cxnSpLocks/>
          </p:cNvCxnSpPr>
          <p:nvPr/>
        </p:nvCxnSpPr>
        <p:spPr>
          <a:xfrm rot="10800000">
            <a:off x="3459293" y="2511589"/>
            <a:ext cx="252000" cy="0"/>
          </a:xfrm>
          <a:prstGeom prst="line">
            <a:avLst/>
          </a:prstGeom>
          <a:noFill/>
          <a:ln w="15875" cap="sq" cmpd="sng" algn="ctr">
            <a:solidFill>
              <a:srgbClr val="000000"/>
            </a:solidFill>
            <a:prstDash val="solid"/>
            <a:miter lim="800000"/>
            <a:headEnd type="triangle" w="sm" len="sm"/>
          </a:ln>
          <a:effectLst/>
        </p:spPr>
      </p:cxnSp>
      <p:sp>
        <p:nvSpPr>
          <p:cNvPr id="187" name="Vertical Text Placeholder 2">
            <a:extLst>
              <a:ext uri="{FF2B5EF4-FFF2-40B4-BE49-F238E27FC236}">
                <a16:creationId xmlns:a16="http://schemas.microsoft.com/office/drawing/2014/main" id="{CCD83DE0-7260-40DC-7A81-BBB6B7B769EA}"/>
              </a:ext>
            </a:extLst>
          </p:cNvPr>
          <p:cNvSpPr txBox="1">
            <a:spLocks/>
          </p:cNvSpPr>
          <p:nvPr/>
        </p:nvSpPr>
        <p:spPr>
          <a:xfrm>
            <a:off x="3707153" y="3795943"/>
            <a:ext cx="2646000" cy="434384"/>
          </a:xfrm>
          <a:prstGeom prst="rect">
            <a:avLst/>
          </a:prstGeom>
          <a:solidFill>
            <a:srgbClr val="00B8AD"/>
          </a:solidFill>
          <a:ln w="15875">
            <a:solidFill>
              <a:srgbClr val="000000"/>
            </a:solidFill>
            <a:prstDash val="dash"/>
          </a:ln>
        </p:spPr>
        <p:txBody>
          <a:bodyPr vert="horz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1.0 mg/kg Q3/4W, </a:t>
            </a:r>
            <a:br>
              <a:rPr kumimoji="0" lang="en-NZ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every SOC cycle</a:t>
            </a:r>
            <a:b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en-NZ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Arial" panose="020B0604020202020204" pitchFamily="34" charset="0"/>
              </a:rPr>
              <a:t>(n=15)</a:t>
            </a:r>
            <a:endParaRPr kumimoji="0" lang="en-NZ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object 8">
            <a:extLst>
              <a:ext uri="{FF2B5EF4-FFF2-40B4-BE49-F238E27FC236}">
                <a16:creationId xmlns:a16="http://schemas.microsoft.com/office/drawing/2014/main" id="{2D02AFF0-19E8-C7D7-D681-8E0EC06BF9E7}"/>
              </a:ext>
            </a:extLst>
          </p:cNvPr>
          <p:cNvSpPr txBox="1"/>
          <p:nvPr/>
        </p:nvSpPr>
        <p:spPr>
          <a:xfrm>
            <a:off x="9127724" y="6655956"/>
            <a:ext cx="2877185" cy="159659"/>
          </a:xfrm>
          <a:prstGeom prst="rect">
            <a:avLst/>
          </a:prstGeom>
        </p:spPr>
        <p:txBody>
          <a:bodyPr vert="horz" wrap="square" lIns="0" tIns="5715" rIns="0" bIns="0" rtlCol="0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mani S, et al. ASH 2024;Abstract 497.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66B4697-DBF6-C74C-7C2C-FABBB70FD2EA}"/>
              </a:ext>
            </a:extLst>
          </p:cNvPr>
          <p:cNvSpPr txBox="1"/>
          <p:nvPr/>
        </p:nvSpPr>
        <p:spPr>
          <a:xfrm>
            <a:off x="144966" y="6490010"/>
            <a:ext cx="33927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Thanos C Dimopoulos, MD</a:t>
            </a:r>
          </a:p>
        </p:txBody>
      </p:sp>
    </p:spTree>
    <p:extLst>
      <p:ext uri="{BB962C8B-B14F-4D97-AF65-F5344CB8AC3E}">
        <p14:creationId xmlns:p14="http://schemas.microsoft.com/office/powerpoint/2010/main" val="42523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6A4DC6ED-F6F8-40A8-92BD-F0B579840A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le Placeholder 5">
            <a:extLst>
              <a:ext uri="{FF2B5EF4-FFF2-40B4-BE49-F238E27FC236}">
                <a16:creationId xmlns:a16="http://schemas.microsoft.com/office/drawing/2014/main" id="{30A0D381-4337-353E-7C03-4C94738C3CBA}"/>
              </a:ext>
            </a:extLst>
          </p:cNvPr>
          <p:cNvSpPr txBox="1">
            <a:spLocks/>
          </p:cNvSpPr>
          <p:nvPr/>
        </p:nvSpPr>
        <p:spPr>
          <a:xfrm>
            <a:off x="365125" y="838685"/>
            <a:ext cx="11436182" cy="5311776"/>
          </a:xfrm>
          <a:prstGeom prst="roundRect">
            <a:avLst>
              <a:gd name="adj" fmla="val 5210"/>
            </a:avLst>
          </a:prstGeom>
          <a:solidFill>
            <a:schemeClr val="bg1"/>
          </a:solidFill>
        </p:spPr>
        <p:txBody>
          <a:bodyPr vert="horz" lIns="0" tIns="180000" rIns="0" bIns="180000" rtlCol="0">
            <a:noAutofit/>
          </a:bodyPr>
          <a:lstStyle>
            <a:lvl1pPr marL="21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▫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◦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marR="0" lvl="0" indent="-216000" algn="l" defTabSz="12191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68288" marR="0" lvl="0" indent="-176213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Rs ranged from 71% to 100%</a:t>
            </a:r>
          </a:p>
          <a:p>
            <a:pPr marL="268288" marR="0" lvl="0" indent="-176213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me to achieve VGPR+ was consistent across the cohorts (median 2.1–3.2 months) and response deepened over time</a:t>
            </a:r>
          </a:p>
          <a:p>
            <a:pPr marL="268288" marR="0" lvl="0" indent="-176213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he first 4 cohorts, CR+ was 62–92%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301EB9C-0953-1DB2-A993-D61E59BFB56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5602" y="1117973"/>
            <a:ext cx="11460164" cy="4484800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EB2F276-1F97-6255-D9EF-D1706FB9D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929" y="175596"/>
            <a:ext cx="10583862" cy="722311"/>
          </a:xfrm>
        </p:spPr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DREAMM-9: Efficacy | ORR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C3DC3973-18D2-094E-5092-358F446F9B20}"/>
              </a:ext>
            </a:extLst>
          </p:cNvPr>
          <p:cNvSpPr txBox="1">
            <a:spLocks/>
          </p:cNvSpPr>
          <p:nvPr/>
        </p:nvSpPr>
        <p:spPr>
          <a:xfrm>
            <a:off x="365125" y="5877272"/>
            <a:ext cx="7952024" cy="522287"/>
          </a:xfrm>
          <a:prstGeom prst="rect">
            <a:avLst/>
          </a:prstGeom>
        </p:spPr>
        <p:txBody>
          <a:bodyPr vert="horz" wrap="square" lIns="0" tIns="72000" rIns="0" bIns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54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98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142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996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I, confidence interval; CR+, complete response or better; ORR, overall response rate; PR, partial response;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xW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every x weeks;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CR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stringent complete response; </a:t>
            </a:r>
            <a:b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GPR+, very good partial response or better.</a:t>
            </a:r>
          </a:p>
        </p:txBody>
      </p:sp>
      <p:sp>
        <p:nvSpPr>
          <p:cNvPr id="21" name="Table Placeholder 5">
            <a:extLst>
              <a:ext uri="{FF2B5EF4-FFF2-40B4-BE49-F238E27FC236}">
                <a16:creationId xmlns:a16="http://schemas.microsoft.com/office/drawing/2014/main" id="{07CF7B7A-29B5-0451-715E-307E32EB253B}"/>
              </a:ext>
            </a:extLst>
          </p:cNvPr>
          <p:cNvSpPr txBox="1">
            <a:spLocks/>
          </p:cNvSpPr>
          <p:nvPr/>
        </p:nvSpPr>
        <p:spPr>
          <a:xfrm>
            <a:off x="485778" y="1193904"/>
            <a:ext cx="11201400" cy="1226953"/>
          </a:xfrm>
          <a:prstGeom prst="roundRect">
            <a:avLst>
              <a:gd name="adj" fmla="val 11526"/>
            </a:avLst>
          </a:prstGeom>
          <a:solidFill>
            <a:schemeClr val="bg1"/>
          </a:solidFill>
          <a:effectLst>
            <a:outerShdw blurRad="63500" algn="tl" rotWithShape="0">
              <a:prstClr val="black">
                <a:alpha val="20000"/>
              </a:prstClr>
            </a:outerShdw>
          </a:effectLst>
        </p:spPr>
        <p:txBody>
          <a:bodyPr vert="horz" lIns="2468880" tIns="180000" rIns="0" bIns="180000" rtlCol="0" anchor="ctr">
            <a:noAutofit/>
          </a:bodyPr>
          <a:lstStyle>
            <a:lvl1pPr marL="21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▫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◦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193675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RRs ranged from 71% to 100%</a:t>
            </a:r>
          </a:p>
          <a:p>
            <a:pPr marL="285750" marR="0" lvl="0" indent="-193675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ime to achieve VGPR+ was consistent across the cohorts (median 2.1–3.2 months) and response deepened over time</a:t>
            </a:r>
          </a:p>
          <a:p>
            <a:pPr marL="285750" marR="0" lvl="0" indent="-193675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 the first 4 cohorts, CR+ was 62–92%</a:t>
            </a:r>
          </a:p>
        </p:txBody>
      </p:sp>
      <p:sp>
        <p:nvSpPr>
          <p:cNvPr id="22" name="Table Placeholder 5">
            <a:extLst>
              <a:ext uri="{FF2B5EF4-FFF2-40B4-BE49-F238E27FC236}">
                <a16:creationId xmlns:a16="http://schemas.microsoft.com/office/drawing/2014/main" id="{8A6E1943-26B2-5CE7-0BB1-E9A0631EABA2}"/>
              </a:ext>
            </a:extLst>
          </p:cNvPr>
          <p:cNvSpPr txBox="1">
            <a:spLocks/>
          </p:cNvSpPr>
          <p:nvPr/>
        </p:nvSpPr>
        <p:spPr>
          <a:xfrm rot="16200000">
            <a:off x="963181" y="716495"/>
            <a:ext cx="1226955" cy="2181764"/>
          </a:xfrm>
          <a:prstGeom prst="round2SameRect">
            <a:avLst>
              <a:gd name="adj1" fmla="val 12035"/>
              <a:gd name="adj2" fmla="val 0"/>
            </a:avLst>
          </a:prstGeom>
          <a:solidFill>
            <a:schemeClr val="tx2"/>
          </a:solidFill>
        </p:spPr>
        <p:txBody>
          <a:bodyPr vert="vert" lIns="0" tIns="91440" rIns="0" bIns="365760" rtlCol="0" anchor="ctr">
            <a:noAutofit/>
          </a:bodyPr>
          <a:lstStyle>
            <a:lvl1pPr marL="21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▫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◦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GPR+ was 100% in 3 cohorts including those with lower doses and less frequent schedules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2782968-994C-C07D-2B8C-6B270A00F29F}"/>
              </a:ext>
            </a:extLst>
          </p:cNvPr>
          <p:cNvSpPr>
            <a:spLocks noChangeAspect="1"/>
          </p:cNvSpPr>
          <p:nvPr/>
        </p:nvSpPr>
        <p:spPr bwMode="auto">
          <a:xfrm>
            <a:off x="2438941" y="1572999"/>
            <a:ext cx="457200" cy="457200"/>
          </a:xfrm>
          <a:custGeom>
            <a:avLst/>
            <a:gdLst>
              <a:gd name="connsiteX0" fmla="*/ 204696 w 885249"/>
              <a:gd name="connsiteY0" fmla="*/ 0 h 885249"/>
              <a:gd name="connsiteX1" fmla="*/ 623174 w 885249"/>
              <a:gd name="connsiteY1" fmla="*/ 0 h 885249"/>
              <a:gd name="connsiteX2" fmla="*/ 680553 w 885249"/>
              <a:gd name="connsiteY2" fmla="*/ 0 h 885249"/>
              <a:gd name="connsiteX3" fmla="*/ 885249 w 885249"/>
              <a:gd name="connsiteY3" fmla="*/ 0 h 885249"/>
              <a:gd name="connsiteX4" fmla="*/ 885249 w 885249"/>
              <a:gd name="connsiteY4" fmla="*/ 204696 h 885249"/>
              <a:gd name="connsiteX5" fmla="*/ 885249 w 885249"/>
              <a:gd name="connsiteY5" fmla="*/ 262075 h 885249"/>
              <a:gd name="connsiteX6" fmla="*/ 885249 w 885249"/>
              <a:gd name="connsiteY6" fmla="*/ 680553 h 885249"/>
              <a:gd name="connsiteX7" fmla="*/ 680553 w 885249"/>
              <a:gd name="connsiteY7" fmla="*/ 885249 h 885249"/>
              <a:gd name="connsiteX8" fmla="*/ 204696 w 885249"/>
              <a:gd name="connsiteY8" fmla="*/ 885249 h 885249"/>
              <a:gd name="connsiteX9" fmla="*/ 0 w 885249"/>
              <a:gd name="connsiteY9" fmla="*/ 680553 h 885249"/>
              <a:gd name="connsiteX10" fmla="*/ 0 w 885249"/>
              <a:gd name="connsiteY10" fmla="*/ 204696 h 885249"/>
              <a:gd name="connsiteX11" fmla="*/ 204696 w 885249"/>
              <a:gd name="connsiteY11" fmla="*/ 0 h 88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5249" h="885249">
                <a:moveTo>
                  <a:pt x="204696" y="0"/>
                </a:moveTo>
                <a:lnTo>
                  <a:pt x="623174" y="0"/>
                </a:lnTo>
                <a:lnTo>
                  <a:pt x="680553" y="0"/>
                </a:lnTo>
                <a:lnTo>
                  <a:pt x="885249" y="0"/>
                </a:lnTo>
                <a:lnTo>
                  <a:pt x="885249" y="204696"/>
                </a:lnTo>
                <a:lnTo>
                  <a:pt x="885249" y="262075"/>
                </a:lnTo>
                <a:lnTo>
                  <a:pt x="885249" y="680553"/>
                </a:lnTo>
                <a:cubicBezTo>
                  <a:pt x="885249" y="793603"/>
                  <a:pt x="793603" y="885249"/>
                  <a:pt x="680553" y="885249"/>
                </a:cubicBezTo>
                <a:lnTo>
                  <a:pt x="204696" y="885249"/>
                </a:lnTo>
                <a:cubicBezTo>
                  <a:pt x="91646" y="885249"/>
                  <a:pt x="0" y="793603"/>
                  <a:pt x="0" y="680553"/>
                </a:cubicBezTo>
                <a:lnTo>
                  <a:pt x="0" y="204696"/>
                </a:lnTo>
                <a:cubicBezTo>
                  <a:pt x="0" y="91646"/>
                  <a:pt x="91646" y="0"/>
                  <a:pt x="2046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>
            <a:outerShdw blurRad="63500" algn="ctr" rotWithShape="0">
              <a:schemeClr val="tx1">
                <a:alpha val="2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Table Placeholder 5">
            <a:extLst>
              <a:ext uri="{FF2B5EF4-FFF2-40B4-BE49-F238E27FC236}">
                <a16:creationId xmlns:a16="http://schemas.microsoft.com/office/drawing/2014/main" id="{92177333-0F06-66C6-AD5B-F8AE2BF5CBFE}"/>
              </a:ext>
            </a:extLst>
          </p:cNvPr>
          <p:cNvSpPr txBox="1">
            <a:spLocks/>
          </p:cNvSpPr>
          <p:nvPr/>
        </p:nvSpPr>
        <p:spPr>
          <a:xfrm>
            <a:off x="485777" y="2562584"/>
            <a:ext cx="11206481" cy="3419283"/>
          </a:xfrm>
          <a:prstGeom prst="roundRect">
            <a:avLst>
              <a:gd name="adj" fmla="val 4584"/>
            </a:avLst>
          </a:prstGeom>
          <a:solidFill>
            <a:schemeClr val="bg1"/>
          </a:solidFill>
          <a:effectLst>
            <a:outerShdw blurRad="63500" algn="tl" rotWithShape="0">
              <a:prstClr val="black">
                <a:alpha val="20000"/>
              </a:prstClr>
            </a:outerShdw>
          </a:effectLst>
        </p:spPr>
        <p:txBody>
          <a:bodyPr vert="horz" lIns="2468880" tIns="180000" rIns="0" bIns="180000" rtlCol="0" anchor="ctr">
            <a:noAutofit/>
          </a:bodyPr>
          <a:lstStyle>
            <a:lvl1pPr marL="21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▫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◦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marR="0" lvl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AD8E5B9-2AAC-BB01-F610-CE5586CB612D}"/>
              </a:ext>
            </a:extLst>
          </p:cNvPr>
          <p:cNvGraphicFramePr>
            <a:graphicFrameLocks noGrp="1"/>
          </p:cNvGraphicFramePr>
          <p:nvPr/>
        </p:nvGraphicFramePr>
        <p:xfrm>
          <a:off x="756972" y="2671669"/>
          <a:ext cx="10659010" cy="32004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719194">
                  <a:extLst>
                    <a:ext uri="{9D8B030D-6E8A-4147-A177-3AD203B41FA5}">
                      <a16:colId xmlns:a16="http://schemas.microsoft.com/office/drawing/2014/main" val="1293809434"/>
                    </a:ext>
                  </a:extLst>
                </a:gridCol>
                <a:gridCol w="1117477">
                  <a:extLst>
                    <a:ext uri="{9D8B030D-6E8A-4147-A177-3AD203B41FA5}">
                      <a16:colId xmlns:a16="http://schemas.microsoft.com/office/drawing/2014/main" val="2351588303"/>
                    </a:ext>
                  </a:extLst>
                </a:gridCol>
                <a:gridCol w="1117477">
                  <a:extLst>
                    <a:ext uri="{9D8B030D-6E8A-4147-A177-3AD203B41FA5}">
                      <a16:colId xmlns:a16="http://schemas.microsoft.com/office/drawing/2014/main" val="3003871512"/>
                    </a:ext>
                  </a:extLst>
                </a:gridCol>
                <a:gridCol w="1117477">
                  <a:extLst>
                    <a:ext uri="{9D8B030D-6E8A-4147-A177-3AD203B41FA5}">
                      <a16:colId xmlns:a16="http://schemas.microsoft.com/office/drawing/2014/main" val="2282893480"/>
                    </a:ext>
                  </a:extLst>
                </a:gridCol>
                <a:gridCol w="1117477">
                  <a:extLst>
                    <a:ext uri="{9D8B030D-6E8A-4147-A177-3AD203B41FA5}">
                      <a16:colId xmlns:a16="http://schemas.microsoft.com/office/drawing/2014/main" val="4073923371"/>
                    </a:ext>
                  </a:extLst>
                </a:gridCol>
                <a:gridCol w="1117477">
                  <a:extLst>
                    <a:ext uri="{9D8B030D-6E8A-4147-A177-3AD203B41FA5}">
                      <a16:colId xmlns:a16="http://schemas.microsoft.com/office/drawing/2014/main" val="479623107"/>
                    </a:ext>
                  </a:extLst>
                </a:gridCol>
                <a:gridCol w="1117477">
                  <a:extLst>
                    <a:ext uri="{9D8B030D-6E8A-4147-A177-3AD203B41FA5}">
                      <a16:colId xmlns:a16="http://schemas.microsoft.com/office/drawing/2014/main" val="1073942753"/>
                    </a:ext>
                  </a:extLst>
                </a:gridCol>
                <a:gridCol w="1117477">
                  <a:extLst>
                    <a:ext uri="{9D8B030D-6E8A-4147-A177-3AD203B41FA5}">
                      <a16:colId xmlns:a16="http://schemas.microsoft.com/office/drawing/2014/main" val="3170355975"/>
                    </a:ext>
                  </a:extLst>
                </a:gridCol>
                <a:gridCol w="1117477">
                  <a:extLst>
                    <a:ext uri="{9D8B030D-6E8A-4147-A177-3AD203B41FA5}">
                      <a16:colId xmlns:a16="http://schemas.microsoft.com/office/drawing/2014/main" val="4204014042"/>
                    </a:ext>
                  </a:extLst>
                </a:gridCol>
              </a:tblGrid>
              <a:tr h="141158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>
                          <a:solidFill>
                            <a:schemeClr val="tx1"/>
                          </a:solidFill>
                        </a:rPr>
                        <a:t>ORR*, </a:t>
                      </a:r>
                      <a:r>
                        <a:rPr lang="en-GB" sz="1050" b="1" strike="noStrike">
                          <a:solidFill>
                            <a:schemeClr val="tx1"/>
                          </a:solidFill>
                        </a:rPr>
                        <a:t>%</a:t>
                      </a: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100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100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92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100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71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86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87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100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9854112"/>
                  </a:ext>
                </a:extLst>
              </a:tr>
              <a:tr h="141158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0" strike="noStrike">
                          <a:solidFill>
                            <a:schemeClr val="tx1"/>
                          </a:solidFill>
                        </a:rPr>
                        <a:t>VGPR+ / CR+, %</a:t>
                      </a: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92 / 75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100 / 92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92 / 62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100 / 91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59 / 41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79 / 71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73 / 53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>
                          <a:solidFill>
                            <a:schemeClr val="tx1"/>
                          </a:solidFill>
                        </a:rPr>
                        <a:t>100 / 30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3756596"/>
                  </a:ext>
                </a:extLst>
              </a:tr>
            </a:tbl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2DD078BF-0D3C-E256-62A3-083C992B9ECD}"/>
              </a:ext>
            </a:extLst>
          </p:cNvPr>
          <p:cNvGraphicFramePr/>
          <p:nvPr/>
        </p:nvGraphicFramePr>
        <p:xfrm>
          <a:off x="1616017" y="3032589"/>
          <a:ext cx="9785703" cy="16467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DB461555-3F83-9DDA-8884-52FC365097F6}"/>
              </a:ext>
            </a:extLst>
          </p:cNvPr>
          <p:cNvSpPr/>
          <p:nvPr/>
        </p:nvSpPr>
        <p:spPr bwMode="auto">
          <a:xfrm>
            <a:off x="798596" y="3337853"/>
            <a:ext cx="108142" cy="108142"/>
          </a:xfrm>
          <a:prstGeom prst="rect">
            <a:avLst/>
          </a:prstGeom>
          <a:solidFill>
            <a:srgbClr val="BEFFFB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D5F4069-23F0-9398-60FC-0389856603A2}"/>
              </a:ext>
            </a:extLst>
          </p:cNvPr>
          <p:cNvSpPr txBox="1"/>
          <p:nvPr/>
        </p:nvSpPr>
        <p:spPr>
          <a:xfrm>
            <a:off x="1009619" y="3264714"/>
            <a:ext cx="676695" cy="909726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GP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CR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784C884-4424-B70A-A7D9-BDEB53F78EAE}"/>
              </a:ext>
            </a:extLst>
          </p:cNvPr>
          <p:cNvSpPr/>
          <p:nvPr/>
        </p:nvSpPr>
        <p:spPr bwMode="auto">
          <a:xfrm>
            <a:off x="798596" y="3557626"/>
            <a:ext cx="108142" cy="108142"/>
          </a:xfrm>
          <a:prstGeom prst="rect">
            <a:avLst/>
          </a:prstGeom>
          <a:solidFill>
            <a:srgbClr val="69B445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393C525-FB67-6C6B-8DD7-91AD6672455D}"/>
              </a:ext>
            </a:extLst>
          </p:cNvPr>
          <p:cNvSpPr/>
          <p:nvPr/>
        </p:nvSpPr>
        <p:spPr bwMode="auto">
          <a:xfrm>
            <a:off x="795712" y="3783240"/>
            <a:ext cx="108142" cy="108142"/>
          </a:xfrm>
          <a:prstGeom prst="rect">
            <a:avLst/>
          </a:prstGeom>
          <a:solidFill>
            <a:srgbClr val="FFC709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C542E6C-070B-6E54-D0F9-C1D8C9193686}"/>
              </a:ext>
            </a:extLst>
          </p:cNvPr>
          <p:cNvSpPr/>
          <p:nvPr/>
        </p:nvSpPr>
        <p:spPr bwMode="auto">
          <a:xfrm>
            <a:off x="795712" y="4003013"/>
            <a:ext cx="108142" cy="108142"/>
          </a:xfrm>
          <a:prstGeom prst="rect">
            <a:avLst/>
          </a:prstGeom>
          <a:solidFill>
            <a:srgbClr val="00B8AD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9" name="Table 19">
            <a:extLst>
              <a:ext uri="{FF2B5EF4-FFF2-40B4-BE49-F238E27FC236}">
                <a16:creationId xmlns:a16="http://schemas.microsoft.com/office/drawing/2014/main" id="{255484AD-B758-F9DE-A25C-51AC3EB693D8}"/>
              </a:ext>
            </a:extLst>
          </p:cNvPr>
          <p:cNvGraphicFramePr>
            <a:graphicFrameLocks noGrp="1"/>
          </p:cNvGraphicFramePr>
          <p:nvPr>
            <p:ph type="tbl" sz="quarter" idx="4294967295"/>
          </p:nvPr>
        </p:nvGraphicFramePr>
        <p:xfrm>
          <a:off x="883971" y="4690479"/>
          <a:ext cx="10517747" cy="9601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696411">
                  <a:extLst>
                    <a:ext uri="{9D8B030D-6E8A-4147-A177-3AD203B41FA5}">
                      <a16:colId xmlns:a16="http://schemas.microsoft.com/office/drawing/2014/main" val="3400075645"/>
                    </a:ext>
                  </a:extLst>
                </a:gridCol>
                <a:gridCol w="1102667">
                  <a:extLst>
                    <a:ext uri="{9D8B030D-6E8A-4147-A177-3AD203B41FA5}">
                      <a16:colId xmlns:a16="http://schemas.microsoft.com/office/drawing/2014/main" val="2050500003"/>
                    </a:ext>
                  </a:extLst>
                </a:gridCol>
                <a:gridCol w="1102667">
                  <a:extLst>
                    <a:ext uri="{9D8B030D-6E8A-4147-A177-3AD203B41FA5}">
                      <a16:colId xmlns:a16="http://schemas.microsoft.com/office/drawing/2014/main" val="3250868538"/>
                    </a:ext>
                  </a:extLst>
                </a:gridCol>
                <a:gridCol w="1102667">
                  <a:extLst>
                    <a:ext uri="{9D8B030D-6E8A-4147-A177-3AD203B41FA5}">
                      <a16:colId xmlns:a16="http://schemas.microsoft.com/office/drawing/2014/main" val="3869792577"/>
                    </a:ext>
                  </a:extLst>
                </a:gridCol>
                <a:gridCol w="1102667">
                  <a:extLst>
                    <a:ext uri="{9D8B030D-6E8A-4147-A177-3AD203B41FA5}">
                      <a16:colId xmlns:a16="http://schemas.microsoft.com/office/drawing/2014/main" val="3657998459"/>
                    </a:ext>
                  </a:extLst>
                </a:gridCol>
                <a:gridCol w="1102667">
                  <a:extLst>
                    <a:ext uri="{9D8B030D-6E8A-4147-A177-3AD203B41FA5}">
                      <a16:colId xmlns:a16="http://schemas.microsoft.com/office/drawing/2014/main" val="523128551"/>
                    </a:ext>
                  </a:extLst>
                </a:gridCol>
                <a:gridCol w="1102667">
                  <a:extLst>
                    <a:ext uri="{9D8B030D-6E8A-4147-A177-3AD203B41FA5}">
                      <a16:colId xmlns:a16="http://schemas.microsoft.com/office/drawing/2014/main" val="3712194991"/>
                    </a:ext>
                  </a:extLst>
                </a:gridCol>
                <a:gridCol w="1102667">
                  <a:extLst>
                    <a:ext uri="{9D8B030D-6E8A-4147-A177-3AD203B41FA5}">
                      <a16:colId xmlns:a16="http://schemas.microsoft.com/office/drawing/2014/main" val="3555196045"/>
                    </a:ext>
                  </a:extLst>
                </a:gridCol>
                <a:gridCol w="1102667">
                  <a:extLst>
                    <a:ext uri="{9D8B030D-6E8A-4147-A177-3AD203B41FA5}">
                      <a16:colId xmlns:a16="http://schemas.microsoft.com/office/drawing/2014/main" val="2227158527"/>
                    </a:ext>
                  </a:extLst>
                </a:gridCol>
              </a:tblGrid>
              <a:tr h="121505">
                <a:tc>
                  <a:txBody>
                    <a:bodyPr/>
                    <a:lstStyle/>
                    <a:p>
                      <a:endParaRPr lang="en-GB" sz="900">
                        <a:solidFill>
                          <a:schemeClr val="bg1"/>
                        </a:solidFill>
                      </a:endParaRPr>
                    </a:p>
                  </a:txBody>
                  <a:tcPr marT="0" marB="0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>
                          <a:solidFill>
                            <a:schemeClr val="bg1"/>
                          </a:solidFill>
                        </a:rPr>
                        <a:t>n=12</a:t>
                      </a:r>
                    </a:p>
                  </a:txBody>
                  <a:tcPr marT="0" marB="0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>
                          <a:solidFill>
                            <a:schemeClr val="bg1"/>
                          </a:solidFill>
                        </a:rPr>
                        <a:t>n=12</a:t>
                      </a:r>
                    </a:p>
                  </a:txBody>
                  <a:tcPr marT="0" marB="0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>
                          <a:solidFill>
                            <a:schemeClr val="bg1"/>
                          </a:solidFill>
                        </a:rPr>
                        <a:t>n=13</a:t>
                      </a:r>
                    </a:p>
                  </a:txBody>
                  <a:tcPr marT="0" marB="0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>
                          <a:solidFill>
                            <a:schemeClr val="bg1"/>
                          </a:solidFill>
                        </a:rPr>
                        <a:t>n=11</a:t>
                      </a:r>
                    </a:p>
                  </a:txBody>
                  <a:tcPr marT="0" marB="0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>
                          <a:solidFill>
                            <a:schemeClr val="bg1"/>
                          </a:solidFill>
                        </a:rPr>
                        <a:t>n=17</a:t>
                      </a:r>
                    </a:p>
                  </a:txBody>
                  <a:tcPr marT="0" marB="0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>
                          <a:solidFill>
                            <a:schemeClr val="bg1"/>
                          </a:solidFill>
                        </a:rPr>
                        <a:t>n=14</a:t>
                      </a:r>
                    </a:p>
                  </a:txBody>
                  <a:tcPr marT="0" marB="0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>
                          <a:solidFill>
                            <a:schemeClr val="bg1"/>
                          </a:solidFill>
                        </a:rPr>
                        <a:t>n=15</a:t>
                      </a:r>
                    </a:p>
                  </a:txBody>
                  <a:tcPr marT="0" marB="0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>
                          <a:solidFill>
                            <a:schemeClr val="bg1"/>
                          </a:solidFill>
                        </a:rPr>
                        <a:t>n=10</a:t>
                      </a:r>
                    </a:p>
                  </a:txBody>
                  <a:tcPr marT="0" marB="0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3793002"/>
                  </a:ext>
                </a:extLst>
              </a:tr>
              <a:tr h="202999">
                <a:tc>
                  <a:txBody>
                    <a:bodyPr/>
                    <a:lstStyle/>
                    <a:p>
                      <a:pPr marL="0" indent="0" algn="l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an follow-up, months (range)</a:t>
                      </a:r>
                    </a:p>
                  </a:txBody>
                  <a:tcPr marT="0" marB="0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7.6 </a:t>
                      </a:r>
                    </a:p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7–50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2.3 </a:t>
                      </a:r>
                    </a:p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6–38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.2 </a:t>
                      </a:r>
                    </a:p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1–37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2.4 </a:t>
                      </a:r>
                    </a:p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5–37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.1 </a:t>
                      </a:r>
                    </a:p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1–23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1.0 </a:t>
                      </a:r>
                    </a:p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0–38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.2 </a:t>
                      </a:r>
                    </a:p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2–22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.8 </a:t>
                      </a:r>
                    </a:p>
                    <a:p>
                      <a:pPr marL="0" algn="ctr" defTabSz="1219170" rtl="0" eaLnBrk="1" latinLnBrk="0" hangingPunct="1"/>
                      <a:r>
                        <a:rPr lang="en-GB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5–10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003538"/>
                  </a:ext>
                </a:extLst>
              </a:tr>
              <a:tr h="202999">
                <a:tc>
                  <a:txBody>
                    <a:bodyPr/>
                    <a:lstStyle/>
                    <a:p>
                      <a:r>
                        <a:rPr lang="en-GB" sz="900" strike="noStrike"/>
                        <a:t>Median time to VGPR+, months (range)</a:t>
                      </a:r>
                    </a:p>
                  </a:txBody>
                  <a:tcPr marT="0" marB="0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strike="noStrike"/>
                        <a:t>2.8 </a:t>
                      </a:r>
                    </a:p>
                    <a:p>
                      <a:pPr algn="ctr"/>
                      <a:r>
                        <a:rPr lang="en-GB" sz="900" strike="noStrike"/>
                        <a:t>(0.7–4.2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strike="noStrike"/>
                        <a:t>2.9 </a:t>
                      </a:r>
                    </a:p>
                    <a:p>
                      <a:pPr algn="ctr"/>
                      <a:r>
                        <a:rPr lang="en-GB" sz="900" strike="noStrike"/>
                        <a:t>(0.8–14.7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strike="noStrike"/>
                        <a:t>2.2 </a:t>
                      </a:r>
                    </a:p>
                    <a:p>
                      <a:pPr algn="ctr"/>
                      <a:r>
                        <a:rPr lang="en-GB" sz="900" strike="noStrike"/>
                        <a:t>(0.8–16.8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strike="noStrike"/>
                        <a:t>2.1 </a:t>
                      </a:r>
                    </a:p>
                    <a:p>
                      <a:pPr algn="ctr"/>
                      <a:r>
                        <a:rPr lang="en-GB" sz="900" strike="noStrike"/>
                        <a:t>(0.8–5.0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strike="noStrike"/>
                        <a:t>2.2 </a:t>
                      </a:r>
                    </a:p>
                    <a:p>
                      <a:pPr algn="ctr"/>
                      <a:r>
                        <a:rPr lang="en-GB" sz="900" strike="noStrike"/>
                        <a:t>(0.7–8.1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strike="noStrike"/>
                        <a:t>3.0 </a:t>
                      </a:r>
                    </a:p>
                    <a:p>
                      <a:pPr algn="ctr"/>
                      <a:r>
                        <a:rPr lang="en-GB" sz="900" strike="noStrike"/>
                        <a:t>(1.4–6.8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strike="noStrike"/>
                        <a:t>3.1 </a:t>
                      </a:r>
                    </a:p>
                    <a:p>
                      <a:pPr algn="ctr"/>
                      <a:r>
                        <a:rPr lang="en-GB" sz="900" strike="noStrike"/>
                        <a:t>(0.8–4.9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strike="noStrike"/>
                        <a:t>3.2</a:t>
                      </a:r>
                    </a:p>
                    <a:p>
                      <a:pPr algn="ctr"/>
                      <a:r>
                        <a:rPr lang="en-GB" sz="900" strike="noStrike"/>
                        <a:t> (1.3–4.9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3030234"/>
                  </a:ext>
                </a:extLst>
              </a:tr>
              <a:tr h="233314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/>
                        <a:t>Median time to CR+, months (range)</a:t>
                      </a:r>
                    </a:p>
                  </a:txBody>
                  <a:tcPr marT="0" marB="0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/>
                        <a:t>8.3 </a:t>
                      </a:r>
                      <a:br>
                        <a:rPr lang="en-GB" sz="900"/>
                      </a:br>
                      <a:r>
                        <a:rPr lang="en-GB" sz="900"/>
                        <a:t>(2.1–19.4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/>
                        <a:t>12.0</a:t>
                      </a:r>
                      <a:br>
                        <a:rPr lang="en-GB" sz="900"/>
                      </a:br>
                      <a:r>
                        <a:rPr lang="en-GB" sz="900"/>
                        <a:t>(4.4–22.9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/>
                        <a:t>6.2</a:t>
                      </a:r>
                      <a:br>
                        <a:rPr lang="en-GB" sz="900"/>
                      </a:br>
                      <a:r>
                        <a:rPr lang="en-GB" sz="900"/>
                        <a:t>(1.4–15.7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/>
                        <a:t>8.8 </a:t>
                      </a:r>
                      <a:br>
                        <a:rPr lang="en-GB" sz="900"/>
                      </a:br>
                      <a:r>
                        <a:rPr lang="en-GB" sz="900"/>
                        <a:t>(1.4–18.4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/>
                        <a:t>9.5</a:t>
                      </a:r>
                      <a:br>
                        <a:rPr lang="en-GB" sz="900"/>
                      </a:br>
                      <a:r>
                        <a:rPr lang="en-GB" sz="900"/>
                        <a:t>(3.7–11.1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/>
                        <a:t>8.2</a:t>
                      </a:r>
                      <a:br>
                        <a:rPr lang="en-GB" sz="900"/>
                      </a:br>
                      <a:r>
                        <a:rPr lang="en-GB" sz="900"/>
                        <a:t>(2.1–19.8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/>
                        <a:t>6.1</a:t>
                      </a:r>
                      <a:br>
                        <a:rPr lang="en-GB" sz="900"/>
                      </a:br>
                      <a:r>
                        <a:rPr lang="en-GB" sz="900"/>
                        <a:t>(1.4–13.8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/>
                        <a:t>6.5</a:t>
                      </a:r>
                      <a:br>
                        <a:rPr lang="en-GB" sz="900"/>
                      </a:br>
                      <a:r>
                        <a:rPr lang="en-GB" sz="900"/>
                        <a:t>(2.1–9.1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843316"/>
                  </a:ext>
                </a:extLst>
              </a:tr>
            </a:tbl>
          </a:graphicData>
        </a:graphic>
      </p:graphicFrame>
      <p:sp>
        <p:nvSpPr>
          <p:cNvPr id="3" name="Text Placeholder 16">
            <a:extLst>
              <a:ext uri="{FF2B5EF4-FFF2-40B4-BE49-F238E27FC236}">
                <a16:creationId xmlns:a16="http://schemas.microsoft.com/office/drawing/2014/main" id="{E695896F-EA49-C046-1765-5F8D2A5619EF}"/>
              </a:ext>
            </a:extLst>
          </p:cNvPr>
          <p:cNvSpPr txBox="1">
            <a:spLocks/>
          </p:cNvSpPr>
          <p:nvPr/>
        </p:nvSpPr>
        <p:spPr>
          <a:xfrm>
            <a:off x="485777" y="5711857"/>
            <a:ext cx="11201400" cy="271987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alpha val="10000"/>
            </a:schemeClr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54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98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142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996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dian follow-up varied as cohorts opened at different times; some patients had not been treated for long enough to achieve respons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1F98AFC-DD0D-EE2D-4B43-94E959D9EC1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23541" y="1645253"/>
            <a:ext cx="288000" cy="275294"/>
          </a:xfrm>
          <a:prstGeom prst="rect">
            <a:avLst/>
          </a:prstGeom>
        </p:spPr>
      </p:pic>
      <p:sp>
        <p:nvSpPr>
          <p:cNvPr id="6" name="object 8">
            <a:extLst>
              <a:ext uri="{FF2B5EF4-FFF2-40B4-BE49-F238E27FC236}">
                <a16:creationId xmlns:a16="http://schemas.microsoft.com/office/drawing/2014/main" id="{6D2E8E4C-0A72-7659-EA79-02C0817920F0}"/>
              </a:ext>
            </a:extLst>
          </p:cNvPr>
          <p:cNvSpPr txBox="1"/>
          <p:nvPr/>
        </p:nvSpPr>
        <p:spPr>
          <a:xfrm>
            <a:off x="9223375" y="6647815"/>
            <a:ext cx="2877185" cy="159659"/>
          </a:xfrm>
          <a:prstGeom prst="rect">
            <a:avLst/>
          </a:prstGeom>
        </p:spPr>
        <p:txBody>
          <a:bodyPr vert="horz" wrap="square" lIns="0" tIns="5715" rIns="0" bIns="0" rtlCol="0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mani S, et al. ASH 2024;Abstract 497.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5C245C-5B40-50B1-7F1B-A7D10B3666B3}"/>
              </a:ext>
            </a:extLst>
          </p:cNvPr>
          <p:cNvSpPr txBox="1"/>
          <p:nvPr/>
        </p:nvSpPr>
        <p:spPr>
          <a:xfrm>
            <a:off x="144966" y="6490010"/>
            <a:ext cx="33927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Thanos C Dimopoulos, M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79977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EEA41A71-9C60-88D1-33D9-D1BC2B8ECE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able Placeholder 5">
            <a:extLst>
              <a:ext uri="{FF2B5EF4-FFF2-40B4-BE49-F238E27FC236}">
                <a16:creationId xmlns:a16="http://schemas.microsoft.com/office/drawing/2014/main" id="{EC713B40-F9A2-147D-F638-E1A864DB23EF}"/>
              </a:ext>
            </a:extLst>
          </p:cNvPr>
          <p:cNvSpPr txBox="1">
            <a:spLocks/>
          </p:cNvSpPr>
          <p:nvPr/>
        </p:nvSpPr>
        <p:spPr>
          <a:xfrm>
            <a:off x="357187" y="1012968"/>
            <a:ext cx="11468101" cy="5078270"/>
          </a:xfrm>
          <a:prstGeom prst="roundRect">
            <a:avLst>
              <a:gd name="adj" fmla="val 5210"/>
            </a:avLst>
          </a:prstGeom>
          <a:solidFill>
            <a:schemeClr val="bg1"/>
          </a:solidFill>
        </p:spPr>
        <p:txBody>
          <a:bodyPr vert="horz" lIns="0" tIns="180000" rIns="0" bIns="180000" rtlCol="0">
            <a:noAutofit/>
          </a:bodyPr>
          <a:lstStyle>
            <a:lvl1pPr marL="21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▫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◦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8000" marR="0" lvl="1" indent="0" algn="l" defTabSz="12191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  <a:p>
            <a:pPr marL="504000" marR="0" lvl="1" indent="-216000" algn="l" defTabSz="12191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­"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  <a:p>
            <a:pPr marL="288000" marR="0" lvl="1" indent="0" algn="l" defTabSz="12191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8000" marR="0" lvl="1" indent="0" algn="l" defTabSz="12191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75DA74-1BD5-F72F-B71F-D20C20862A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7132" y="5733256"/>
            <a:ext cx="9505950" cy="522287"/>
          </a:xfrm>
        </p:spPr>
        <p:txBody>
          <a:bodyPr/>
          <a:lstStyle/>
          <a:p>
            <a:r>
              <a:rPr lang="en-GB" sz="800" b="0" i="0" u="none" strike="noStrike" dirty="0">
                <a:solidFill>
                  <a:srgbClr val="000000"/>
                </a:solidFill>
                <a:effectLst/>
              </a:rPr>
              <a:t>*</a:t>
            </a:r>
            <a:r>
              <a:rPr lang="en-GB" sz="800" dirty="0"/>
              <a:t>MRD[-] was measured by next-generation sequencing [10</a:t>
            </a:r>
            <a:r>
              <a:rPr lang="en-GB" sz="800" baseline="30000" dirty="0"/>
              <a:t>-5</a:t>
            </a:r>
            <a:r>
              <a:rPr lang="en-GB" sz="800" dirty="0"/>
              <a:t>] in patients achieving CR+</a:t>
            </a:r>
            <a:r>
              <a:rPr lang="en-US" sz="800" dirty="0"/>
              <a:t>​, and is shown as proportion of the ITT population.</a:t>
            </a:r>
            <a:br>
              <a:rPr lang="en-US" sz="800" dirty="0"/>
            </a:br>
            <a:r>
              <a:rPr lang="en-GB" sz="800" dirty="0" err="1"/>
              <a:t>belamaf</a:t>
            </a:r>
            <a:r>
              <a:rPr lang="en-GB" sz="800" dirty="0"/>
              <a:t>, </a:t>
            </a:r>
            <a:r>
              <a:rPr lang="en-GB" sz="800" dirty="0" err="1"/>
              <a:t>belantamab</a:t>
            </a:r>
            <a:r>
              <a:rPr lang="en-GB" sz="800" dirty="0"/>
              <a:t> </a:t>
            </a:r>
            <a:r>
              <a:rPr lang="en-GB" sz="800" dirty="0" err="1"/>
              <a:t>mafodotin</a:t>
            </a:r>
            <a:r>
              <a:rPr lang="en-GB" sz="800" dirty="0"/>
              <a:t>; CR,+ complete response or better; ITT, intention-to-treat; MRD[−], minimal residual disease negativity; </a:t>
            </a:r>
            <a:r>
              <a:rPr lang="en-GB" sz="800" dirty="0" err="1"/>
              <a:t>QxW</a:t>
            </a:r>
            <a:r>
              <a:rPr lang="en-GB" sz="800" dirty="0"/>
              <a:t>, every x weeks.</a:t>
            </a:r>
            <a:r>
              <a:rPr lang="en-US" sz="800" dirty="0"/>
              <a:t>​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670C67A-8047-4189-4CB4-43A7314C4EF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5125" y="1170436"/>
            <a:ext cx="11460164" cy="4484800"/>
          </a:xfrm>
        </p:spPr>
        <p:txBody>
          <a:bodyPr/>
          <a:lstStyle/>
          <a:p>
            <a:pPr marL="0" indent="0">
              <a:buNone/>
            </a:pPr>
            <a:r>
              <a:rPr lang="en-US"/>
              <a:t> 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C994519-4DCA-E677-4D77-23A9F845C4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316" y="270477"/>
            <a:ext cx="10583862" cy="722311"/>
          </a:xfrm>
        </p:spPr>
        <p:txBody>
          <a:bodyPr/>
          <a:lstStyle/>
          <a:p>
            <a:r>
              <a:rPr lang="en-GB" dirty="0">
                <a:solidFill>
                  <a:srgbClr val="C00000"/>
                </a:solidFill>
              </a:rPr>
              <a:t>DREAMM-9: Efficacy | MRD-negativity rate*</a:t>
            </a:r>
          </a:p>
        </p:txBody>
      </p:sp>
      <p:sp>
        <p:nvSpPr>
          <p:cNvPr id="9" name="Table Placeholder 5">
            <a:extLst>
              <a:ext uri="{FF2B5EF4-FFF2-40B4-BE49-F238E27FC236}">
                <a16:creationId xmlns:a16="http://schemas.microsoft.com/office/drawing/2014/main" id="{4088CC05-075D-58F1-971A-F90DB774ABFE}"/>
              </a:ext>
            </a:extLst>
          </p:cNvPr>
          <p:cNvSpPr txBox="1">
            <a:spLocks/>
          </p:cNvSpPr>
          <p:nvPr/>
        </p:nvSpPr>
        <p:spPr>
          <a:xfrm rot="16200000">
            <a:off x="5739413" y="-3997752"/>
            <a:ext cx="713175" cy="11201402"/>
          </a:xfrm>
          <a:prstGeom prst="roundRect">
            <a:avLst>
              <a:gd name="adj" fmla="val 19980"/>
            </a:avLst>
          </a:prstGeom>
          <a:solidFill>
            <a:schemeClr val="tx2"/>
          </a:solidFill>
        </p:spPr>
        <p:txBody>
          <a:bodyPr vert="vert" lIns="0" tIns="731520" rIns="0" bIns="0" rtlCol="0" anchor="ctr">
            <a:noAutofit/>
          </a:bodyPr>
          <a:lstStyle>
            <a:lvl1pPr marL="21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▫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◦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er </a:t>
            </a: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lamaf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tarting doses were associated with deeper and faster MRD[−] rates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462B9809-95D0-47B3-CFBC-C0B2300B101B}"/>
              </a:ext>
            </a:extLst>
          </p:cNvPr>
          <p:cNvSpPr>
            <a:spLocks noChangeAspect="1"/>
          </p:cNvSpPr>
          <p:nvPr/>
        </p:nvSpPr>
        <p:spPr bwMode="auto">
          <a:xfrm>
            <a:off x="633302" y="1374349"/>
            <a:ext cx="457200" cy="457200"/>
          </a:xfrm>
          <a:custGeom>
            <a:avLst/>
            <a:gdLst>
              <a:gd name="connsiteX0" fmla="*/ 204696 w 885249"/>
              <a:gd name="connsiteY0" fmla="*/ 0 h 885249"/>
              <a:gd name="connsiteX1" fmla="*/ 623174 w 885249"/>
              <a:gd name="connsiteY1" fmla="*/ 0 h 885249"/>
              <a:gd name="connsiteX2" fmla="*/ 680553 w 885249"/>
              <a:gd name="connsiteY2" fmla="*/ 0 h 885249"/>
              <a:gd name="connsiteX3" fmla="*/ 885249 w 885249"/>
              <a:gd name="connsiteY3" fmla="*/ 0 h 885249"/>
              <a:gd name="connsiteX4" fmla="*/ 885249 w 885249"/>
              <a:gd name="connsiteY4" fmla="*/ 204696 h 885249"/>
              <a:gd name="connsiteX5" fmla="*/ 885249 w 885249"/>
              <a:gd name="connsiteY5" fmla="*/ 262075 h 885249"/>
              <a:gd name="connsiteX6" fmla="*/ 885249 w 885249"/>
              <a:gd name="connsiteY6" fmla="*/ 680553 h 885249"/>
              <a:gd name="connsiteX7" fmla="*/ 680553 w 885249"/>
              <a:gd name="connsiteY7" fmla="*/ 885249 h 885249"/>
              <a:gd name="connsiteX8" fmla="*/ 204696 w 885249"/>
              <a:gd name="connsiteY8" fmla="*/ 885249 h 885249"/>
              <a:gd name="connsiteX9" fmla="*/ 0 w 885249"/>
              <a:gd name="connsiteY9" fmla="*/ 680553 h 885249"/>
              <a:gd name="connsiteX10" fmla="*/ 0 w 885249"/>
              <a:gd name="connsiteY10" fmla="*/ 204696 h 885249"/>
              <a:gd name="connsiteX11" fmla="*/ 204696 w 885249"/>
              <a:gd name="connsiteY11" fmla="*/ 0 h 88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5249" h="885249">
                <a:moveTo>
                  <a:pt x="204696" y="0"/>
                </a:moveTo>
                <a:lnTo>
                  <a:pt x="623174" y="0"/>
                </a:lnTo>
                <a:lnTo>
                  <a:pt x="680553" y="0"/>
                </a:lnTo>
                <a:lnTo>
                  <a:pt x="885249" y="0"/>
                </a:lnTo>
                <a:lnTo>
                  <a:pt x="885249" y="204696"/>
                </a:lnTo>
                <a:lnTo>
                  <a:pt x="885249" y="262075"/>
                </a:lnTo>
                <a:lnTo>
                  <a:pt x="885249" y="680553"/>
                </a:lnTo>
                <a:cubicBezTo>
                  <a:pt x="885249" y="793603"/>
                  <a:pt x="793603" y="885249"/>
                  <a:pt x="680553" y="885249"/>
                </a:cubicBezTo>
                <a:lnTo>
                  <a:pt x="204696" y="885249"/>
                </a:lnTo>
                <a:cubicBezTo>
                  <a:pt x="91646" y="885249"/>
                  <a:pt x="0" y="793603"/>
                  <a:pt x="0" y="680553"/>
                </a:cubicBezTo>
                <a:lnTo>
                  <a:pt x="0" y="204696"/>
                </a:lnTo>
                <a:cubicBezTo>
                  <a:pt x="0" y="91646"/>
                  <a:pt x="91646" y="0"/>
                  <a:pt x="2046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>
            <a:outerShdw blurRad="63500" algn="ctr" rotWithShape="0">
              <a:schemeClr val="tx1">
                <a:alpha val="2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able Placeholder 5">
            <a:extLst>
              <a:ext uri="{FF2B5EF4-FFF2-40B4-BE49-F238E27FC236}">
                <a16:creationId xmlns:a16="http://schemas.microsoft.com/office/drawing/2014/main" id="{999329D3-614E-3937-5A56-8464152EDDF3}"/>
              </a:ext>
            </a:extLst>
          </p:cNvPr>
          <p:cNvSpPr txBox="1">
            <a:spLocks/>
          </p:cNvSpPr>
          <p:nvPr/>
        </p:nvSpPr>
        <p:spPr>
          <a:xfrm>
            <a:off x="495300" y="2084444"/>
            <a:ext cx="11206481" cy="3738080"/>
          </a:xfrm>
          <a:prstGeom prst="roundRect">
            <a:avLst>
              <a:gd name="adj" fmla="val 4584"/>
            </a:avLst>
          </a:prstGeom>
          <a:solidFill>
            <a:schemeClr val="bg1"/>
          </a:solidFill>
          <a:effectLst>
            <a:outerShdw blurRad="63500" algn="tl" rotWithShape="0">
              <a:prstClr val="black">
                <a:alpha val="20000"/>
              </a:prstClr>
            </a:outerShdw>
          </a:effectLst>
        </p:spPr>
        <p:txBody>
          <a:bodyPr vert="horz" lIns="2468880" tIns="180000" rIns="0" bIns="180000" rtlCol="0" anchor="ctr">
            <a:noAutofit/>
          </a:bodyPr>
          <a:lstStyle>
            <a:lvl1pPr marL="21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▫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◦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marR="0" lvl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9FFC876-C492-F61A-F7ED-23AD68B19080}"/>
              </a:ext>
            </a:extLst>
          </p:cNvPr>
          <p:cNvGraphicFramePr>
            <a:graphicFrameLocks/>
          </p:cNvGraphicFramePr>
          <p:nvPr/>
        </p:nvGraphicFramePr>
        <p:xfrm>
          <a:off x="2420390" y="2090688"/>
          <a:ext cx="9289329" cy="2829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69DB7A8-9C49-80FB-54E1-ED3F15D6E3CC}"/>
              </a:ext>
            </a:extLst>
          </p:cNvPr>
          <p:cNvGraphicFramePr>
            <a:graphicFrameLocks noGrp="1"/>
          </p:cNvGraphicFramePr>
          <p:nvPr/>
        </p:nvGraphicFramePr>
        <p:xfrm>
          <a:off x="633730" y="4213168"/>
          <a:ext cx="9745034" cy="1631864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510994">
                  <a:extLst>
                    <a:ext uri="{9D8B030D-6E8A-4147-A177-3AD203B41FA5}">
                      <a16:colId xmlns:a16="http://schemas.microsoft.com/office/drawing/2014/main" val="559392652"/>
                    </a:ext>
                  </a:extLst>
                </a:gridCol>
                <a:gridCol w="904255">
                  <a:extLst>
                    <a:ext uri="{9D8B030D-6E8A-4147-A177-3AD203B41FA5}">
                      <a16:colId xmlns:a16="http://schemas.microsoft.com/office/drawing/2014/main" val="2250596359"/>
                    </a:ext>
                  </a:extLst>
                </a:gridCol>
                <a:gridCol w="904255">
                  <a:extLst>
                    <a:ext uri="{9D8B030D-6E8A-4147-A177-3AD203B41FA5}">
                      <a16:colId xmlns:a16="http://schemas.microsoft.com/office/drawing/2014/main" val="1400207749"/>
                    </a:ext>
                  </a:extLst>
                </a:gridCol>
                <a:gridCol w="904255">
                  <a:extLst>
                    <a:ext uri="{9D8B030D-6E8A-4147-A177-3AD203B41FA5}">
                      <a16:colId xmlns:a16="http://schemas.microsoft.com/office/drawing/2014/main" val="2065677170"/>
                    </a:ext>
                  </a:extLst>
                </a:gridCol>
                <a:gridCol w="904255">
                  <a:extLst>
                    <a:ext uri="{9D8B030D-6E8A-4147-A177-3AD203B41FA5}">
                      <a16:colId xmlns:a16="http://schemas.microsoft.com/office/drawing/2014/main" val="3230565077"/>
                    </a:ext>
                  </a:extLst>
                </a:gridCol>
                <a:gridCol w="904255">
                  <a:extLst>
                    <a:ext uri="{9D8B030D-6E8A-4147-A177-3AD203B41FA5}">
                      <a16:colId xmlns:a16="http://schemas.microsoft.com/office/drawing/2014/main" val="1366303883"/>
                    </a:ext>
                  </a:extLst>
                </a:gridCol>
                <a:gridCol w="904255">
                  <a:extLst>
                    <a:ext uri="{9D8B030D-6E8A-4147-A177-3AD203B41FA5}">
                      <a16:colId xmlns:a16="http://schemas.microsoft.com/office/drawing/2014/main" val="990823303"/>
                    </a:ext>
                  </a:extLst>
                </a:gridCol>
                <a:gridCol w="904255">
                  <a:extLst>
                    <a:ext uri="{9D8B030D-6E8A-4147-A177-3AD203B41FA5}">
                      <a16:colId xmlns:a16="http://schemas.microsoft.com/office/drawing/2014/main" val="2768792468"/>
                    </a:ext>
                  </a:extLst>
                </a:gridCol>
                <a:gridCol w="904255">
                  <a:extLst>
                    <a:ext uri="{9D8B030D-6E8A-4147-A177-3AD203B41FA5}">
                      <a16:colId xmlns:a16="http://schemas.microsoft.com/office/drawing/2014/main" val="4180420978"/>
                    </a:ext>
                  </a:extLst>
                </a:gridCol>
              </a:tblGrid>
              <a:tr h="522825">
                <a:tc>
                  <a:txBody>
                    <a:bodyPr/>
                    <a:lstStyle/>
                    <a:p>
                      <a:pPr marL="0" indent="0" algn="l" defTabSz="1219170" rtl="0" eaLnBrk="1" latinLnBrk="0" hangingPunct="1"/>
                      <a:endParaRPr lang="en-GB" sz="12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Z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</a:rPr>
                        <a:t>1.9 mg/kg Q3/4W</a:t>
                      </a:r>
                      <a:endParaRPr lang="en-GB" sz="11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Z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</a:rPr>
                        <a:t>1.9 mg/kg Q6/8W </a:t>
                      </a:r>
                      <a:endParaRPr lang="en-GB" sz="11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Z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</a:rPr>
                        <a:t>1.4 mg/kg Q3/4W</a:t>
                      </a:r>
                      <a:endParaRPr lang="en-GB" sz="11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Z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</a:rPr>
                        <a:t>1.4 mg/kg Q6/8W</a:t>
                      </a:r>
                      <a:endParaRPr lang="en-GB" sz="11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Z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</a:rPr>
                        <a:t>1.9 (9W) to 1.4 mg/kg Q9/12W</a:t>
                      </a:r>
                      <a:endParaRPr lang="en-GB" sz="11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NZ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</a:rPr>
                        <a:t>1.0 mg/kg Q3/4W</a:t>
                      </a:r>
                      <a:endParaRPr lang="en-GB" sz="11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Z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</a:rPr>
                        <a:t>1.4 (9W) to 1.0 mg/kg Q9/12W</a:t>
                      </a:r>
                      <a:endParaRPr lang="en-GB" sz="11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Z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 panose="020B0604030504040204" pitchFamily="34" charset="0"/>
                        </a:rPr>
                        <a:t>1.0 mg/kg Q12W</a:t>
                      </a:r>
                      <a:endParaRPr lang="en-GB" sz="11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709584"/>
                  </a:ext>
                </a:extLst>
              </a:tr>
              <a:tr h="380236">
                <a:tc>
                  <a:txBody>
                    <a:bodyPr/>
                    <a:lstStyle/>
                    <a:p>
                      <a:pPr marL="0" indent="0" algn="l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RD[−], n (% of patients </a:t>
                      </a:r>
                      <a:b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ith CR+)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 (100)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 (73)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 (88)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(50)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(71)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 (60)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 (50)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5925594"/>
                  </a:ext>
                </a:extLst>
              </a:tr>
              <a:tr h="382685">
                <a:tc>
                  <a:txBody>
                    <a:bodyPr/>
                    <a:lstStyle/>
                    <a:p>
                      <a:pPr marL="0" indent="0" algn="l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an time to MRD[−], </a:t>
                      </a:r>
                      <a:b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nths (range)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.3</a:t>
                      </a:r>
                      <a:b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2.1–17.5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.9 </a:t>
                      </a:r>
                      <a:b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4.2–14.7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.2 </a:t>
                      </a:r>
                      <a:b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2.3–24.9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4.6</a:t>
                      </a:r>
                      <a:b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2.1–23.1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4 </a:t>
                      </a:r>
                      <a:b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2.2–10.2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8 </a:t>
                      </a:r>
                      <a:b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2.5–12.3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.1 </a:t>
                      </a:r>
                      <a:b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2.1–9.2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745733"/>
                  </a:ext>
                </a:extLst>
              </a:tr>
              <a:tr h="271603">
                <a:tc>
                  <a:txBody>
                    <a:bodyPr/>
                    <a:lstStyle/>
                    <a:p>
                      <a:pPr marL="0" indent="0" algn="l" defTabSz="1219170" rtl="0" eaLnBrk="1" latinLnBrk="0" hangingPunct="1"/>
                      <a:r>
                        <a:rPr lang="en-GB" sz="12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an follow-up, months 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7.6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2.3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.2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2.4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1.0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.2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latinLnBrk="0" hangingPunct="1"/>
                      <a:r>
                        <a:rPr lang="en-GB" sz="12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.8</a:t>
                      </a: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DF6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0220523"/>
                  </a:ext>
                </a:extLst>
              </a:tr>
            </a:tbl>
          </a:graphicData>
        </a:graphic>
      </p:graphicFrame>
      <p:pic>
        <p:nvPicPr>
          <p:cNvPr id="15" name="Graphic 14">
            <a:extLst>
              <a:ext uri="{FF2B5EF4-FFF2-40B4-BE49-F238E27FC236}">
                <a16:creationId xmlns:a16="http://schemas.microsoft.com/office/drawing/2014/main" id="{211C3C6A-B2B9-E0F7-6B36-E9B654C8F33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5682" y="1456430"/>
            <a:ext cx="292742" cy="292742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2F3E2553-3E57-85D0-4720-1940A498DD41}"/>
              </a:ext>
            </a:extLst>
          </p:cNvPr>
          <p:cNvSpPr txBox="1"/>
          <p:nvPr/>
        </p:nvSpPr>
        <p:spPr>
          <a:xfrm>
            <a:off x="9131935" y="6638196"/>
            <a:ext cx="2877185" cy="159659"/>
          </a:xfrm>
          <a:prstGeom prst="rect">
            <a:avLst/>
          </a:prstGeom>
        </p:spPr>
        <p:txBody>
          <a:bodyPr vert="horz" wrap="square" lIns="0" tIns="5715" rIns="0" bIns="0" rtlCol="0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mani S, et al. ASH 2024;Abstract 497.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A221D9-76DD-675A-D686-4C28938228D8}"/>
              </a:ext>
            </a:extLst>
          </p:cNvPr>
          <p:cNvSpPr txBox="1"/>
          <p:nvPr/>
        </p:nvSpPr>
        <p:spPr>
          <a:xfrm>
            <a:off x="144966" y="6490010"/>
            <a:ext cx="33927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Thanos C Dimopoulos, M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6617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B7167A-8A27-8112-1FF2-0D49E3B85B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E34979-B98B-97D1-4AED-5F4E2E3E97C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5125" y="1311162"/>
            <a:ext cx="11460164" cy="4780076"/>
          </a:xfrm>
        </p:spPr>
        <p:txBody>
          <a:bodyPr/>
          <a:lstStyle/>
          <a:p>
            <a:pPr marL="0" indent="0">
              <a:buNone/>
            </a:pPr>
            <a:r>
              <a:rPr lang="en-US"/>
              <a:t> 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4E4E080-68F1-A970-0239-02C8615AAF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REAMM-9: Best corrected visual acuity</a:t>
            </a:r>
            <a:endParaRPr lang="en-GB" sz="3200" strike="sngStrike" dirty="0">
              <a:solidFill>
                <a:srgbClr val="C00000"/>
              </a:solidFill>
              <a:highlight>
                <a:srgbClr val="FFFF00"/>
              </a:highligh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1174C059-C5A1-9B64-5983-16C74DBA6931}"/>
              </a:ext>
            </a:extLst>
          </p:cNvPr>
          <p:cNvSpPr txBox="1">
            <a:spLocks/>
          </p:cNvSpPr>
          <p:nvPr/>
        </p:nvSpPr>
        <p:spPr>
          <a:xfrm>
            <a:off x="495301" y="1387093"/>
            <a:ext cx="11201400" cy="1226953"/>
          </a:xfrm>
          <a:prstGeom prst="roundRect">
            <a:avLst>
              <a:gd name="adj" fmla="val 11526"/>
            </a:avLst>
          </a:prstGeom>
          <a:solidFill>
            <a:schemeClr val="bg1"/>
          </a:solidFill>
          <a:effectLst>
            <a:outerShdw blurRad="63500" algn="tl" rotWithShape="0">
              <a:prstClr val="black">
                <a:alpha val="20000"/>
              </a:prstClr>
            </a:outerShdw>
          </a:effectLst>
        </p:spPr>
        <p:txBody>
          <a:bodyPr vert="horz" lIns="2468880" tIns="180000" rIns="0" bIns="180000" rtlCol="0" anchor="ctr">
            <a:noAutofit/>
          </a:bodyPr>
          <a:lstStyle>
            <a:lvl1pPr marL="21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▫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◦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338" marR="0" lvl="0" indent="-195263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ending the dosing interval between the 1.9 mg/kg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 1.4 mg/kg doses from Q3/4W to Q6/8W was associated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 longer time to BCVA decrease to 20/50 or worse*</a:t>
            </a:r>
          </a:p>
          <a:p>
            <a:pPr marL="287338" marR="0" lvl="0" indent="-195263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olution of BCVA decreases was generally faster in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horts with lower initial doses of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lamaf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able Placeholder 5">
            <a:extLst>
              <a:ext uri="{FF2B5EF4-FFF2-40B4-BE49-F238E27FC236}">
                <a16:creationId xmlns:a16="http://schemas.microsoft.com/office/drawing/2014/main" id="{BFC51594-15AB-4B75-D20D-CEF827FA1C7C}"/>
              </a:ext>
            </a:extLst>
          </p:cNvPr>
          <p:cNvSpPr txBox="1">
            <a:spLocks/>
          </p:cNvSpPr>
          <p:nvPr/>
        </p:nvSpPr>
        <p:spPr>
          <a:xfrm rot="16200000">
            <a:off x="972704" y="909684"/>
            <a:ext cx="1226955" cy="2181764"/>
          </a:xfrm>
          <a:prstGeom prst="round2SameRect">
            <a:avLst>
              <a:gd name="adj1" fmla="val 12035"/>
              <a:gd name="adj2" fmla="val 0"/>
            </a:avLst>
          </a:prstGeom>
          <a:solidFill>
            <a:schemeClr val="tx2"/>
          </a:solidFill>
        </p:spPr>
        <p:txBody>
          <a:bodyPr vert="vert" lIns="0" tIns="91440" rIns="0" bIns="365760" rtlCol="0" anchor="ctr">
            <a:noAutofit/>
          </a:bodyPr>
          <a:lstStyle>
            <a:lvl1pPr marL="21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▫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◦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se and schedule affected the time to, and resolution of, BCVA decreases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3BA8E3E2-B501-7696-6BBD-79777A3832F0}"/>
              </a:ext>
            </a:extLst>
          </p:cNvPr>
          <p:cNvSpPr>
            <a:spLocks noChangeAspect="1"/>
          </p:cNvSpPr>
          <p:nvPr/>
        </p:nvSpPr>
        <p:spPr bwMode="auto">
          <a:xfrm>
            <a:off x="2448464" y="1766188"/>
            <a:ext cx="457200" cy="457200"/>
          </a:xfrm>
          <a:custGeom>
            <a:avLst/>
            <a:gdLst>
              <a:gd name="connsiteX0" fmla="*/ 204696 w 885249"/>
              <a:gd name="connsiteY0" fmla="*/ 0 h 885249"/>
              <a:gd name="connsiteX1" fmla="*/ 623174 w 885249"/>
              <a:gd name="connsiteY1" fmla="*/ 0 h 885249"/>
              <a:gd name="connsiteX2" fmla="*/ 680553 w 885249"/>
              <a:gd name="connsiteY2" fmla="*/ 0 h 885249"/>
              <a:gd name="connsiteX3" fmla="*/ 885249 w 885249"/>
              <a:gd name="connsiteY3" fmla="*/ 0 h 885249"/>
              <a:gd name="connsiteX4" fmla="*/ 885249 w 885249"/>
              <a:gd name="connsiteY4" fmla="*/ 204696 h 885249"/>
              <a:gd name="connsiteX5" fmla="*/ 885249 w 885249"/>
              <a:gd name="connsiteY5" fmla="*/ 262075 h 885249"/>
              <a:gd name="connsiteX6" fmla="*/ 885249 w 885249"/>
              <a:gd name="connsiteY6" fmla="*/ 680553 h 885249"/>
              <a:gd name="connsiteX7" fmla="*/ 680553 w 885249"/>
              <a:gd name="connsiteY7" fmla="*/ 885249 h 885249"/>
              <a:gd name="connsiteX8" fmla="*/ 204696 w 885249"/>
              <a:gd name="connsiteY8" fmla="*/ 885249 h 885249"/>
              <a:gd name="connsiteX9" fmla="*/ 0 w 885249"/>
              <a:gd name="connsiteY9" fmla="*/ 680553 h 885249"/>
              <a:gd name="connsiteX10" fmla="*/ 0 w 885249"/>
              <a:gd name="connsiteY10" fmla="*/ 204696 h 885249"/>
              <a:gd name="connsiteX11" fmla="*/ 204696 w 885249"/>
              <a:gd name="connsiteY11" fmla="*/ 0 h 88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85249" h="885249">
                <a:moveTo>
                  <a:pt x="204696" y="0"/>
                </a:moveTo>
                <a:lnTo>
                  <a:pt x="623174" y="0"/>
                </a:lnTo>
                <a:lnTo>
                  <a:pt x="680553" y="0"/>
                </a:lnTo>
                <a:lnTo>
                  <a:pt x="885249" y="0"/>
                </a:lnTo>
                <a:lnTo>
                  <a:pt x="885249" y="204696"/>
                </a:lnTo>
                <a:lnTo>
                  <a:pt x="885249" y="262075"/>
                </a:lnTo>
                <a:lnTo>
                  <a:pt x="885249" y="680553"/>
                </a:lnTo>
                <a:cubicBezTo>
                  <a:pt x="885249" y="793603"/>
                  <a:pt x="793603" y="885249"/>
                  <a:pt x="680553" y="885249"/>
                </a:cubicBezTo>
                <a:lnTo>
                  <a:pt x="204696" y="885249"/>
                </a:lnTo>
                <a:cubicBezTo>
                  <a:pt x="91646" y="885249"/>
                  <a:pt x="0" y="793603"/>
                  <a:pt x="0" y="680553"/>
                </a:cubicBezTo>
                <a:lnTo>
                  <a:pt x="0" y="204696"/>
                </a:lnTo>
                <a:cubicBezTo>
                  <a:pt x="0" y="91646"/>
                  <a:pt x="91646" y="0"/>
                  <a:pt x="20469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  <a:headEnd/>
            <a:tailEnd/>
          </a:ln>
          <a:effectLst>
            <a:outerShdw blurRad="63500" algn="ctr" rotWithShape="0">
              <a:schemeClr val="tx1">
                <a:alpha val="25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1A997F57-72BB-A741-079E-9D9603E4FF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552476" y="1867407"/>
            <a:ext cx="254762" cy="254762"/>
          </a:xfrm>
          <a:prstGeom prst="rect">
            <a:avLst/>
          </a:prstGeom>
        </p:spPr>
      </p:pic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97C6F81F-9299-60A5-ABA0-67A37D7F6D82}"/>
              </a:ext>
            </a:extLst>
          </p:cNvPr>
          <p:cNvSpPr txBox="1">
            <a:spLocks/>
          </p:cNvSpPr>
          <p:nvPr/>
        </p:nvSpPr>
        <p:spPr>
          <a:xfrm>
            <a:off x="365125" y="5877272"/>
            <a:ext cx="9505950" cy="522287"/>
          </a:xfrm>
          <a:prstGeom prst="rect">
            <a:avLst/>
          </a:prstGeom>
        </p:spPr>
        <p:txBody>
          <a:bodyPr vert="horz" wrap="square" lIns="0" tIns="72000" rIns="0" bIns="0" rtlCol="0" anchor="b" anchorCtr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54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9982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142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9964" indent="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67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he 4 cohorts shown, 2 patients had a BCVA change from 20/25 or better to 20/200 or worse. These patients both had bilateral cataracts.</a:t>
            </a:r>
            <a:b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8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†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age adapted from Shi C, et al.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oRxiv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18;doi:doi.org/10.1101/328443.  Copyright © 2018 the Author.</a:t>
            </a:r>
            <a:b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lamaf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lantamab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fodotin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BCVA, best corrected visual acuity;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xW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every x weeks.</a:t>
            </a:r>
          </a:p>
        </p:txBody>
      </p:sp>
      <p:sp>
        <p:nvSpPr>
          <p:cNvPr id="31" name="Table Placeholder 5">
            <a:extLst>
              <a:ext uri="{FF2B5EF4-FFF2-40B4-BE49-F238E27FC236}">
                <a16:creationId xmlns:a16="http://schemas.microsoft.com/office/drawing/2014/main" id="{4597E89C-244E-A0E4-3276-9FB86DD9DB55}"/>
              </a:ext>
            </a:extLst>
          </p:cNvPr>
          <p:cNvSpPr txBox="1">
            <a:spLocks/>
          </p:cNvSpPr>
          <p:nvPr/>
        </p:nvSpPr>
        <p:spPr>
          <a:xfrm>
            <a:off x="497998" y="2774413"/>
            <a:ext cx="11203781" cy="3219987"/>
          </a:xfrm>
          <a:prstGeom prst="roundRect">
            <a:avLst>
              <a:gd name="adj" fmla="val 4584"/>
            </a:avLst>
          </a:prstGeom>
          <a:solidFill>
            <a:schemeClr val="bg1"/>
          </a:solidFill>
          <a:effectLst>
            <a:outerShdw blurRad="63500" algn="tl" rotWithShape="0">
              <a:prstClr val="black">
                <a:alpha val="20000"/>
              </a:prstClr>
            </a:outerShdw>
          </a:effectLst>
        </p:spPr>
        <p:txBody>
          <a:bodyPr vert="horz" lIns="2468880" tIns="180000" rIns="0" bIns="180000" rtlCol="0" anchor="ctr">
            <a:noAutofit/>
          </a:bodyPr>
          <a:lstStyle>
            <a:lvl1pPr marL="21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▫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◦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56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2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8000" indent="-216000" algn="l" defTabSz="1219170" rtl="0" eaLnBrk="1" latinLnBrk="0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2075" marR="0" lvl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5AF990DE-C8A3-7B5F-B848-4E2C39983D24}"/>
              </a:ext>
            </a:extLst>
          </p:cNvPr>
          <p:cNvGraphicFramePr>
            <a:graphicFrameLocks noGrp="1"/>
          </p:cNvGraphicFramePr>
          <p:nvPr/>
        </p:nvGraphicFramePr>
        <p:xfrm>
          <a:off x="502436" y="3147132"/>
          <a:ext cx="11191884" cy="22325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52380">
                  <a:extLst>
                    <a:ext uri="{9D8B030D-6E8A-4147-A177-3AD203B41FA5}">
                      <a16:colId xmlns:a16="http://schemas.microsoft.com/office/drawing/2014/main" val="1196870828"/>
                    </a:ext>
                  </a:extLst>
                </a:gridCol>
                <a:gridCol w="1835139">
                  <a:extLst>
                    <a:ext uri="{9D8B030D-6E8A-4147-A177-3AD203B41FA5}">
                      <a16:colId xmlns:a16="http://schemas.microsoft.com/office/drawing/2014/main" val="2018123942"/>
                    </a:ext>
                  </a:extLst>
                </a:gridCol>
                <a:gridCol w="38034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974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34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325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/>
                        <a:t>Belamaf schedule</a:t>
                      </a:r>
                    </a:p>
                  </a:txBody>
                  <a:tcPr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/>
                        <a:t>Number of patients, n (%)</a:t>
                      </a:r>
                      <a:endParaRPr lang="en-US" sz="1000" b="1"/>
                    </a:p>
                  </a:txBody>
                  <a:tcPr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/>
                        <a:t>Time to onset</a:t>
                      </a:r>
                    </a:p>
                  </a:txBody>
                  <a:tcPr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000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/>
                        <a:t>Median (range), days</a:t>
                      </a:r>
                    </a:p>
                  </a:txBody>
                  <a:tcPr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3259">
                <a:tc>
                  <a:txBody>
                    <a:bodyPr/>
                    <a:lstStyle/>
                    <a:p>
                      <a:pPr algn="l"/>
                      <a:r>
                        <a:rPr kumimoji="0" lang="en-NZ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/>
                        </a:rPr>
                        <a:t>1.9 mg/kg Q3/4W </a:t>
                      </a:r>
                      <a:endParaRPr lang="en-GB" sz="1000" b="0">
                        <a:solidFill>
                          <a:schemeClr val="tx1"/>
                        </a:solidFill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6 (50)</a:t>
                      </a:r>
                      <a:endParaRPr lang="en-GB" sz="100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000" b="0">
                        <a:solidFill>
                          <a:schemeClr val="tx1"/>
                        </a:solidFill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000" b="0">
                        <a:solidFill>
                          <a:schemeClr val="tx1"/>
                        </a:solidFill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76 (42–439)</a:t>
                      </a:r>
                      <a:endParaRPr lang="en-GB" sz="100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3259">
                <a:tc>
                  <a:txBody>
                    <a:bodyPr/>
                    <a:lstStyle/>
                    <a:p>
                      <a:pPr algn="l"/>
                      <a:r>
                        <a:rPr kumimoji="0" lang="en-NZ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/>
                        </a:rPr>
                        <a:t>1.9 mg/kg Q6/8W </a:t>
                      </a:r>
                      <a:endParaRPr lang="en-GB" sz="1000" b="0">
                        <a:solidFill>
                          <a:schemeClr val="tx1"/>
                        </a:solidFill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6 (50)</a:t>
                      </a: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000" b="0">
                        <a:solidFill>
                          <a:schemeClr val="tx1"/>
                        </a:solidFill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000" b="0">
                        <a:solidFill>
                          <a:schemeClr val="tx1"/>
                        </a:solidFill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246 (106–472)</a:t>
                      </a:r>
                      <a:endParaRPr lang="en-GB" sz="100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3259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Z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/>
                        </a:rPr>
                        <a:t>1.4 mg/kg Q3/4W</a:t>
                      </a: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3 (23)</a:t>
                      </a:r>
                      <a:endParaRPr lang="en-GB" sz="100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128 (113–409)</a:t>
                      </a:r>
                      <a:endParaRPr lang="en-GB" sz="100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3259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Z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/>
                        </a:rPr>
                        <a:t>1.4 mg/kg Q6/8W</a:t>
                      </a: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6 (50)</a:t>
                      </a:r>
                      <a:endParaRPr lang="en-GB" sz="100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264 (92–546)</a:t>
                      </a:r>
                      <a:endParaRPr lang="en-GB" sz="100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3259">
                <a:tc>
                  <a:txBody>
                    <a:bodyPr/>
                    <a:lstStyle/>
                    <a:p>
                      <a:pPr algn="l"/>
                      <a:endParaRPr lang="en-GB" sz="1000" b="1">
                        <a:solidFill>
                          <a:schemeClr val="tx1"/>
                        </a:solidFill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000" b="1">
                        <a:solidFill>
                          <a:schemeClr val="tx1"/>
                        </a:solidFill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GB" sz="1000" b="1">
                          <a:solidFill>
                            <a:schemeClr val="tx1"/>
                          </a:solidFill>
                          <a:ea typeface="Verdana"/>
                        </a:rPr>
                        <a:t>Time to resolution</a:t>
                      </a: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000" b="0">
                        <a:latin typeface="+mn-lt"/>
                      </a:endParaRPr>
                    </a:p>
                  </a:txBody>
                  <a:tcPr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6330251"/>
                  </a:ext>
                </a:extLst>
              </a:tr>
              <a:tr h="223259">
                <a:tc>
                  <a:txBody>
                    <a:bodyPr/>
                    <a:lstStyle/>
                    <a:p>
                      <a:pPr algn="l"/>
                      <a:r>
                        <a:rPr kumimoji="0" lang="en-NZ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/>
                        </a:rPr>
                        <a:t>1.9 mg/kg Q3/4W </a:t>
                      </a:r>
                      <a:endParaRPr lang="en-GB" sz="1000" b="0">
                        <a:solidFill>
                          <a:schemeClr val="tx1"/>
                        </a:solidFill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000" b="0">
                        <a:solidFill>
                          <a:schemeClr val="tx1"/>
                        </a:solidFill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000" b="0">
                        <a:solidFill>
                          <a:schemeClr val="tx1"/>
                        </a:solidFill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163 (36–230)</a:t>
                      </a:r>
                      <a:endParaRPr lang="en-GB" sz="100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5386821"/>
                  </a:ext>
                </a:extLst>
              </a:tr>
              <a:tr h="223259">
                <a:tc>
                  <a:txBody>
                    <a:bodyPr/>
                    <a:lstStyle/>
                    <a:p>
                      <a:pPr algn="l"/>
                      <a:r>
                        <a:rPr kumimoji="0" lang="en-NZ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/>
                        </a:rPr>
                        <a:t>1.9 mg/kg Q6/8W </a:t>
                      </a:r>
                      <a:endParaRPr lang="en-GB" sz="1000" b="0">
                        <a:solidFill>
                          <a:schemeClr val="tx1"/>
                        </a:solidFill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000" b="0">
                        <a:solidFill>
                          <a:schemeClr val="tx1"/>
                        </a:solidFill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000" b="0">
                        <a:solidFill>
                          <a:schemeClr val="tx1"/>
                        </a:solidFill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135 (29–246)</a:t>
                      </a:r>
                      <a:endParaRPr lang="en-GB" sz="100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6549936"/>
                  </a:ext>
                </a:extLst>
              </a:tr>
              <a:tr h="223259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Z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/>
                        </a:rPr>
                        <a:t>1.4 mg/kg Q3/4W</a:t>
                      </a: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latin typeface="+mn-lt"/>
                        </a:rPr>
                        <a:t>36 (22–85)</a:t>
                      </a:r>
                      <a:endParaRPr lang="en-GB" sz="100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7195687"/>
                  </a:ext>
                </a:extLst>
              </a:tr>
              <a:tr h="223259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NZ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Verdana"/>
                        </a:rPr>
                        <a:t>1.4 mg/kg Q6/8W</a:t>
                      </a: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 dirty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="0">
                        <a:latin typeface="+mn-lt"/>
                        <a:ea typeface="Verdana"/>
                      </a:endParaRPr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>
                          <a:latin typeface="+mn-lt"/>
                        </a:rPr>
                        <a:t>70 (43–421)</a:t>
                      </a:r>
                      <a:endParaRPr lang="en-GB" sz="1000" dirty="0"/>
                    </a:p>
                  </a:txBody>
                  <a:tcPr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3210407"/>
                  </a:ext>
                </a:extLst>
              </a:tr>
            </a:tbl>
          </a:graphicData>
        </a:graphic>
      </p:graphicFrame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D9F4E73C-B31E-7A6E-113F-52865D64422D}"/>
              </a:ext>
            </a:extLst>
          </p:cNvPr>
          <p:cNvGraphicFramePr>
            <a:graphicFrameLocks/>
          </p:cNvGraphicFramePr>
          <p:nvPr/>
        </p:nvGraphicFramePr>
        <p:xfrm>
          <a:off x="3860755" y="3256378"/>
          <a:ext cx="6764425" cy="26584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9D0A323F-720C-13E4-5F85-04E2BEBAD922}"/>
              </a:ext>
            </a:extLst>
          </p:cNvPr>
          <p:cNvSpPr txBox="1"/>
          <p:nvPr/>
        </p:nvSpPr>
        <p:spPr>
          <a:xfrm>
            <a:off x="497998" y="2767013"/>
            <a:ext cx="11203781" cy="309146"/>
          </a:xfrm>
          <a:prstGeom prst="round2SameRect">
            <a:avLst>
              <a:gd name="adj1" fmla="val 37770"/>
              <a:gd name="adj2" fmla="val 0"/>
            </a:avLst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occurrence of decrease in BCVA score from baseline (20/25 or better) to 20/50 or wors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954A9C1-F89E-42EE-F2D8-61F18B80370E}"/>
              </a:ext>
            </a:extLst>
          </p:cNvPr>
          <p:cNvSpPr txBox="1"/>
          <p:nvPr/>
        </p:nvSpPr>
        <p:spPr>
          <a:xfrm>
            <a:off x="6774248" y="5763650"/>
            <a:ext cx="914400" cy="174377"/>
          </a:xfrm>
          <a:prstGeom prst="rect">
            <a:avLst/>
          </a:prstGeom>
          <a:noFill/>
        </p:spPr>
        <p:txBody>
          <a:bodyPr wrap="none" lIns="180000" tIns="180000" rIns="180000" bIns="180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ys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13CC674C-CDC5-7ECC-E27E-35778C63D6A0}"/>
              </a:ext>
            </a:extLst>
          </p:cNvPr>
          <p:cNvGrpSpPr>
            <a:grpSpLocks noChangeAspect="1"/>
          </p:cNvGrpSpPr>
          <p:nvPr/>
        </p:nvGrpSpPr>
        <p:grpSpPr>
          <a:xfrm>
            <a:off x="7993443" y="1452793"/>
            <a:ext cx="3292162" cy="1097280"/>
            <a:chOff x="7086611" y="-1247000"/>
            <a:chExt cx="4508147" cy="1502568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1FE14E61-295A-0554-2C76-256812675CC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086611" y="-1247000"/>
              <a:ext cx="4508147" cy="1502568"/>
              <a:chOff x="288772" y="1078462"/>
              <a:chExt cx="6763502" cy="2134168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094D77F1-0D15-8236-D54D-6B333CB63FCB}"/>
                  </a:ext>
                </a:extLst>
              </p:cNvPr>
              <p:cNvGrpSpPr/>
              <p:nvPr/>
            </p:nvGrpSpPr>
            <p:grpSpPr>
              <a:xfrm>
                <a:off x="446592" y="1152046"/>
                <a:ext cx="6499547" cy="1966693"/>
                <a:chOff x="821743" y="1740012"/>
                <a:chExt cx="7499132" cy="2536124"/>
              </a:xfrm>
            </p:grpSpPr>
            <p:pic>
              <p:nvPicPr>
                <p:cNvPr id="24" name="Picture 23" descr="The Roles of Different Spatial Frequency Channels in Real-World ...">
                  <a:extLst>
                    <a:ext uri="{FF2B5EF4-FFF2-40B4-BE49-F238E27FC236}">
                      <a16:creationId xmlns:a16="http://schemas.microsoft.com/office/drawing/2014/main" id="{4045E75B-EB80-8D63-AC52-D5B726CD4BF4}"/>
                    </a:ext>
                  </a:extLst>
                </p:cNvPr>
                <p:cNvPicPr preferRelativeResize="0">
                  <a:picLocks noChangeAspect="1" noChangeArrowheads="1"/>
                </p:cNvPicPr>
                <p:nvPr/>
              </p:nvPicPr>
              <p:blipFill rotWithShape="1"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9809" t="22787" r="44321" b="60054"/>
                <a:stretch/>
              </p:blipFill>
              <p:spPr bwMode="auto">
                <a:xfrm>
                  <a:off x="4684238" y="1740012"/>
                  <a:ext cx="3636637" cy="253612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26" name="Picture 25" descr="The Roles of Different Spatial Frequency Channels in Real-World ...">
                  <a:extLst>
                    <a:ext uri="{FF2B5EF4-FFF2-40B4-BE49-F238E27FC236}">
                      <a16:creationId xmlns:a16="http://schemas.microsoft.com/office/drawing/2014/main" id="{413980A6-5D57-E8F3-41E6-3214FF079040}"/>
                    </a:ext>
                  </a:extLst>
                </p:cNvPr>
                <p:cNvPicPr preferRelativeResize="0">
                  <a:picLocks noChangeAspect="1" noChangeArrowheads="1"/>
                </p:cNvPicPr>
                <p:nvPr/>
              </p:nvPicPr>
              <p:blipFill rotWithShape="1"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9292" t="3014" r="43994" b="79359"/>
                <a:stretch/>
              </p:blipFill>
              <p:spPr bwMode="auto">
                <a:xfrm>
                  <a:off x="821743" y="1740012"/>
                  <a:ext cx="3636642" cy="253612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6FF5913D-80A6-B678-552A-BCAE00BA791F}"/>
                  </a:ext>
                </a:extLst>
              </p:cNvPr>
              <p:cNvSpPr/>
              <p:nvPr/>
            </p:nvSpPr>
            <p:spPr>
              <a:xfrm>
                <a:off x="288772" y="1078462"/>
                <a:ext cx="6763502" cy="2134168"/>
              </a:xfrm>
              <a:prstGeom prst="roundRect">
                <a:avLst>
                  <a:gd name="adj" fmla="val 6482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E7F97538-B4C9-F964-9E79-2920E3630A72}"/>
                </a:ext>
              </a:extLst>
            </p:cNvPr>
            <p:cNvGrpSpPr/>
            <p:nvPr/>
          </p:nvGrpSpPr>
          <p:grpSpPr>
            <a:xfrm>
              <a:off x="7245104" y="-1093435"/>
              <a:ext cx="997136" cy="353225"/>
              <a:chOff x="7370938" y="1906030"/>
              <a:chExt cx="997136" cy="353225"/>
            </a:xfrm>
          </p:grpSpPr>
          <p:sp>
            <p:nvSpPr>
              <p:cNvPr id="13" name="Rectangle: Rounded Corners 12">
                <a:extLst>
                  <a:ext uri="{FF2B5EF4-FFF2-40B4-BE49-F238E27FC236}">
                    <a16:creationId xmlns:a16="http://schemas.microsoft.com/office/drawing/2014/main" id="{A24CCE0F-9B6A-1CBB-400A-AF090E919CC8}"/>
                  </a:ext>
                </a:extLst>
              </p:cNvPr>
              <p:cNvSpPr/>
              <p:nvPr/>
            </p:nvSpPr>
            <p:spPr bwMode="auto">
              <a:xfrm>
                <a:off x="7388501" y="1906030"/>
                <a:ext cx="979573" cy="320172"/>
              </a:xfrm>
              <a:prstGeom prst="roundRect">
                <a:avLst/>
              </a:prstGeom>
              <a:solidFill>
                <a:srgbClr val="FFFFFF"/>
              </a:solidFill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85750" marR="0" lvl="0" indent="-285750" algn="l" defTabSz="914400" rtl="0" eaLnBrk="0" fontAlgn="auto" latinLnBrk="0" hangingPunc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F36633"/>
                  </a:buClr>
                  <a:buSzPct val="110000"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GB" sz="1600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" name="TextBox 22">
                <a:extLst>
                  <a:ext uri="{FF2B5EF4-FFF2-40B4-BE49-F238E27FC236}">
                    <a16:creationId xmlns:a16="http://schemas.microsoft.com/office/drawing/2014/main" id="{C442A755-AE5F-EF9C-1E08-3F6FCB261134}"/>
                  </a:ext>
                </a:extLst>
              </p:cNvPr>
              <p:cNvSpPr txBox="1"/>
              <p:nvPr/>
            </p:nvSpPr>
            <p:spPr>
              <a:xfrm>
                <a:off x="7370938" y="1993772"/>
                <a:ext cx="997136" cy="265483"/>
              </a:xfrm>
              <a:prstGeom prst="rect">
                <a:avLst/>
              </a:prstGeom>
              <a:noFill/>
            </p:spPr>
            <p:txBody>
              <a:bodyPr wrap="square" lIns="0" tIns="0" rIns="0" bIns="9144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F36633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20/20</a:t>
                </a:r>
              </a:p>
            </p:txBody>
          </p:sp>
        </p:grpSp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8DCACCFB-209F-F156-FFB1-E14503D2FD74}"/>
              </a:ext>
            </a:extLst>
          </p:cNvPr>
          <p:cNvSpPr/>
          <p:nvPr/>
        </p:nvSpPr>
        <p:spPr bwMode="auto">
          <a:xfrm>
            <a:off x="9756362" y="1564937"/>
            <a:ext cx="715352" cy="233812"/>
          </a:xfrm>
          <a:prstGeom prst="roundRect">
            <a:avLst/>
          </a:prstGeom>
          <a:solidFill>
            <a:srgbClr val="FFFFFF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0" fontAlgn="auto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36633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TextBox 22">
            <a:extLst>
              <a:ext uri="{FF2B5EF4-FFF2-40B4-BE49-F238E27FC236}">
                <a16:creationId xmlns:a16="http://schemas.microsoft.com/office/drawing/2014/main" id="{95F2E6D1-4AF8-8ABA-A18E-F4F77F46FD7D}"/>
              </a:ext>
            </a:extLst>
          </p:cNvPr>
          <p:cNvSpPr txBox="1"/>
          <p:nvPr/>
        </p:nvSpPr>
        <p:spPr>
          <a:xfrm>
            <a:off x="9754121" y="1629012"/>
            <a:ext cx="728178" cy="193875"/>
          </a:xfrm>
          <a:prstGeom prst="rect">
            <a:avLst/>
          </a:prstGeom>
          <a:noFill/>
        </p:spPr>
        <p:txBody>
          <a:bodyPr wrap="square" lIns="0" tIns="0" rIns="0" bIns="9144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3663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/50</a:t>
            </a:r>
            <a:r>
              <a:rPr kumimoji="0" lang="en-US" sz="1600" b="1" i="0" u="none" strike="noStrike" kern="1200" cap="none" spc="0" normalizeH="0" baseline="30000" noProof="0">
                <a:ln>
                  <a:noFill/>
                </a:ln>
                <a:solidFill>
                  <a:srgbClr val="F3663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†</a:t>
            </a:r>
          </a:p>
        </p:txBody>
      </p:sp>
      <p:sp>
        <p:nvSpPr>
          <p:cNvPr id="2" name="object 8">
            <a:extLst>
              <a:ext uri="{FF2B5EF4-FFF2-40B4-BE49-F238E27FC236}">
                <a16:creationId xmlns:a16="http://schemas.microsoft.com/office/drawing/2014/main" id="{511E8CAF-E565-43D6-A34B-8ABC7EB70CE3}"/>
              </a:ext>
            </a:extLst>
          </p:cNvPr>
          <p:cNvSpPr txBox="1"/>
          <p:nvPr/>
        </p:nvSpPr>
        <p:spPr>
          <a:xfrm>
            <a:off x="9186587" y="6626337"/>
            <a:ext cx="2877185" cy="159659"/>
          </a:xfrm>
          <a:prstGeom prst="rect">
            <a:avLst/>
          </a:prstGeom>
        </p:spPr>
        <p:txBody>
          <a:bodyPr vert="horz" wrap="square" lIns="0" tIns="5715" rIns="0" bIns="0" rtlCol="0">
            <a:spAutoFit/>
          </a:bodyPr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4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mani S, et al. ASH 2024;Abstract 497.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F6F1F7-E3F2-9B4B-64EC-4BC7F7A163BD}"/>
              </a:ext>
            </a:extLst>
          </p:cNvPr>
          <p:cNvSpPr txBox="1"/>
          <p:nvPr/>
        </p:nvSpPr>
        <p:spPr>
          <a:xfrm>
            <a:off x="144966" y="6490010"/>
            <a:ext cx="33927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Thanos C Dimopoulos, M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53860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E965C7-4217-FA19-A167-0E7AA42103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26E3FD-4A20-D123-EB4C-356640B24F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620689"/>
            <a:ext cx="10358967" cy="5400600"/>
          </a:xfrm>
        </p:spPr>
        <p:txBody>
          <a:bodyPr anchor="ctr"/>
          <a:lstStyle/>
          <a:p>
            <a:pPr marL="98425" indent="0" algn="ctr">
              <a:buNone/>
            </a:pPr>
            <a:r>
              <a:rPr lang="en-US" sz="4000" dirty="0"/>
              <a:t>In general, how would you compare the efficacy of </a:t>
            </a:r>
            <a:r>
              <a:rPr lang="en-US" sz="4000" dirty="0" err="1"/>
              <a:t>belantamab</a:t>
            </a:r>
            <a:r>
              <a:rPr lang="en-US" sz="4000" dirty="0"/>
              <a:t> </a:t>
            </a:r>
            <a:r>
              <a:rPr lang="en-US" sz="4000" dirty="0" err="1"/>
              <a:t>mafodotin</a:t>
            </a:r>
            <a:r>
              <a:rPr lang="en-US" sz="4000" dirty="0"/>
              <a:t> versus daratumumab as a component of combination therapy for patients with relapsed MM?</a:t>
            </a:r>
          </a:p>
        </p:txBody>
      </p:sp>
    </p:spTree>
    <p:extLst>
      <p:ext uri="{BB962C8B-B14F-4D97-AF65-F5344CB8AC3E}">
        <p14:creationId xmlns:p14="http://schemas.microsoft.com/office/powerpoint/2010/main" val="2574437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918AE2-BD44-A239-83DC-5C52D607CE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ED36CF-A6AE-28D5-813E-A6347F6C96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620689"/>
            <a:ext cx="10358967" cy="5400600"/>
          </a:xfrm>
        </p:spPr>
        <p:txBody>
          <a:bodyPr anchor="ctr"/>
          <a:lstStyle/>
          <a:p>
            <a:pPr marL="11113" indent="0" algn="ctr">
              <a:buNone/>
            </a:pPr>
            <a:r>
              <a:rPr lang="en-US" sz="4000" dirty="0"/>
              <a:t>How do you manage the dose and schedule </a:t>
            </a:r>
            <a:br>
              <a:rPr lang="en-US" sz="4000" dirty="0"/>
            </a:br>
            <a:r>
              <a:rPr lang="en-US" sz="4000" dirty="0"/>
              <a:t>of </a:t>
            </a:r>
            <a:r>
              <a:rPr lang="en-US" sz="4000" dirty="0" err="1"/>
              <a:t>belantamab</a:t>
            </a:r>
            <a:r>
              <a:rPr lang="en-US" sz="4000" dirty="0"/>
              <a:t> </a:t>
            </a:r>
            <a:r>
              <a:rPr lang="en-US" sz="4000" dirty="0" err="1"/>
              <a:t>mafodotin</a:t>
            </a:r>
            <a:r>
              <a:rPr lang="en-US" sz="4000" dirty="0"/>
              <a:t> to maximize efficacy</a:t>
            </a:r>
            <a:br>
              <a:rPr lang="en-US" sz="4000" dirty="0"/>
            </a:br>
            <a:r>
              <a:rPr lang="en-US" sz="4000" dirty="0"/>
              <a:t>and minimize ophthalmic toxicity?</a:t>
            </a:r>
          </a:p>
        </p:txBody>
      </p:sp>
    </p:spTree>
    <p:extLst>
      <p:ext uri="{BB962C8B-B14F-4D97-AF65-F5344CB8AC3E}">
        <p14:creationId xmlns:p14="http://schemas.microsoft.com/office/powerpoint/2010/main" val="3438092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4D7E3F-50A6-8F48-E664-5BD496E1A0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E9BD5FD-FBE5-CC09-C6C9-6122C375C9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620689"/>
            <a:ext cx="10358967" cy="5400600"/>
          </a:xfrm>
        </p:spPr>
        <p:txBody>
          <a:bodyPr anchor="ctr"/>
          <a:lstStyle/>
          <a:p>
            <a:pPr marL="98425" indent="0" algn="ctr">
              <a:buNone/>
            </a:pPr>
            <a:r>
              <a:rPr lang="en-US" sz="4000" dirty="0"/>
              <a:t>How do you approach prevention, screening </a:t>
            </a:r>
            <a:br>
              <a:rPr lang="en-US" sz="4000" dirty="0"/>
            </a:br>
            <a:r>
              <a:rPr lang="en-US" sz="4000" dirty="0"/>
              <a:t>and management of ophthalmic toxicity </a:t>
            </a:r>
            <a:br>
              <a:rPr lang="en-US" sz="4000" dirty="0"/>
            </a:br>
            <a:r>
              <a:rPr lang="en-US" sz="4000" dirty="0"/>
              <a:t>with </a:t>
            </a:r>
            <a:r>
              <a:rPr lang="en-US" sz="4000" dirty="0" err="1"/>
              <a:t>belantamab</a:t>
            </a:r>
            <a:r>
              <a:rPr lang="en-US" sz="4000" dirty="0"/>
              <a:t> </a:t>
            </a:r>
            <a:r>
              <a:rPr lang="en-US" sz="4000" dirty="0" err="1"/>
              <a:t>mafodotin</a:t>
            </a:r>
            <a:r>
              <a:rPr lang="en-US" sz="40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4022679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79CC45-222D-4D85-191A-50DF8CC3C3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CEDD4C-D9F5-C7D5-D365-43BAE737CD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620689"/>
            <a:ext cx="10358967" cy="5400600"/>
          </a:xfrm>
        </p:spPr>
        <p:txBody>
          <a:bodyPr anchor="ctr"/>
          <a:lstStyle/>
          <a:p>
            <a:pPr marL="98425" indent="0" algn="ctr">
              <a:buNone/>
            </a:pPr>
            <a:r>
              <a:rPr lang="en-US" sz="4000" dirty="0"/>
              <a:t>Do you have any predictions for what results of the DREAMM-10 trial will demonstrate?</a:t>
            </a:r>
          </a:p>
        </p:txBody>
      </p:sp>
    </p:spTree>
    <p:extLst>
      <p:ext uri="{BB962C8B-B14F-4D97-AF65-F5344CB8AC3E}">
        <p14:creationId xmlns:p14="http://schemas.microsoft.com/office/powerpoint/2010/main" val="2687238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ent Arrow 15">
            <a:extLst>
              <a:ext uri="{FF2B5EF4-FFF2-40B4-BE49-F238E27FC236}">
                <a16:creationId xmlns:a16="http://schemas.microsoft.com/office/drawing/2014/main" id="{EAF5E806-1500-679C-4583-95A055870B9B}"/>
              </a:ext>
            </a:extLst>
          </p:cNvPr>
          <p:cNvSpPr/>
          <p:nvPr/>
        </p:nvSpPr>
        <p:spPr bwMode="auto">
          <a:xfrm flipV="1">
            <a:off x="4954313" y="4323367"/>
            <a:ext cx="1093073" cy="482961"/>
          </a:xfrm>
          <a:prstGeom prst="bentArrow">
            <a:avLst/>
          </a:prstGeom>
          <a:solidFill>
            <a:srgbClr val="FF9300"/>
          </a:solidFill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49AFD5-1107-2E3E-A7A5-F27E60BF3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527901"/>
            <a:ext cx="11353800" cy="662782"/>
          </a:xfrm>
        </p:spPr>
        <p:txBody>
          <a:bodyPr>
            <a:noAutofit/>
          </a:bodyPr>
          <a:lstStyle/>
          <a:p>
            <a:pPr algn="l"/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DREAMM-10 Trial: Phase III Study of Belantamab </a:t>
            </a: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Mafodotin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with Lenalidomide and Dexamethasone (</a:t>
            </a: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BRd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) versus Daratumumab with Lenalidomide and Dexamethasone (</a:t>
            </a:r>
            <a:r>
              <a:rPr lang="en-US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DRd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) in Transplant-Ineligible Newly Diagnosed MM</a:t>
            </a:r>
          </a:p>
        </p:txBody>
      </p:sp>
      <p:sp>
        <p:nvSpPr>
          <p:cNvPr id="17" name="Pentagon 16">
            <a:extLst>
              <a:ext uri="{FF2B5EF4-FFF2-40B4-BE49-F238E27FC236}">
                <a16:creationId xmlns:a16="http://schemas.microsoft.com/office/drawing/2014/main" id="{F782F535-35D2-C30C-5E96-97D8423E9CCD}"/>
              </a:ext>
            </a:extLst>
          </p:cNvPr>
          <p:cNvSpPr/>
          <p:nvPr/>
        </p:nvSpPr>
        <p:spPr bwMode="auto">
          <a:xfrm>
            <a:off x="3296963" y="3982581"/>
            <a:ext cx="1506920" cy="170792"/>
          </a:xfrm>
          <a:prstGeom prst="homePlat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6AADF3A-0F7B-9092-3478-8421E4EA2A39}"/>
              </a:ext>
            </a:extLst>
          </p:cNvPr>
          <p:cNvSpPr txBox="1"/>
          <p:nvPr/>
        </p:nvSpPr>
        <p:spPr>
          <a:xfrm>
            <a:off x="0" y="6534835"/>
            <a:ext cx="10239153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Lonial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S et al. ASCO 2025;Abstract TPS7567; 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www.clinicaltrials.gov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. NCT06679101. Accessed May 2025.</a:t>
            </a:r>
          </a:p>
        </p:txBody>
      </p:sp>
      <p:sp>
        <p:nvSpPr>
          <p:cNvPr id="15" name="Bent Arrow 14">
            <a:extLst>
              <a:ext uri="{FF2B5EF4-FFF2-40B4-BE49-F238E27FC236}">
                <a16:creationId xmlns:a16="http://schemas.microsoft.com/office/drawing/2014/main" id="{D3B42963-FAC4-EBC8-BAA8-C7B868C4420E}"/>
              </a:ext>
            </a:extLst>
          </p:cNvPr>
          <p:cNvSpPr/>
          <p:nvPr/>
        </p:nvSpPr>
        <p:spPr bwMode="auto">
          <a:xfrm>
            <a:off x="4975333" y="3329626"/>
            <a:ext cx="1072053" cy="482962"/>
          </a:xfrm>
          <a:prstGeom prst="bentArrow">
            <a:avLst/>
          </a:prstGeom>
          <a:solidFill>
            <a:srgbClr val="00B0F0"/>
          </a:solidFill>
          <a:ln>
            <a:headEnd type="none" w="med" len="med"/>
            <a:tailEnd type="none" w="med" len="med"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F152543-1A40-B450-998A-D13738DBC45C}"/>
              </a:ext>
            </a:extLst>
          </p:cNvPr>
          <p:cNvSpPr txBox="1"/>
          <p:nvPr/>
        </p:nvSpPr>
        <p:spPr>
          <a:xfrm>
            <a:off x="766691" y="3072067"/>
            <a:ext cx="2690649" cy="1999123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y inclusion criteria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wly diagnosed, transplant-ineligible M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COG PS 0-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2948FC6-5A9D-981D-BE14-3DBDD07B6B4D}"/>
              </a:ext>
            </a:extLst>
          </p:cNvPr>
          <p:cNvSpPr txBox="1"/>
          <p:nvPr/>
        </p:nvSpPr>
        <p:spPr>
          <a:xfrm>
            <a:off x="4555957" y="3613545"/>
            <a:ext cx="934383" cy="908864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: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D272603-C54B-DFD2-B086-7CBC1D62CBB7}"/>
              </a:ext>
            </a:extLst>
          </p:cNvPr>
          <p:cNvSpPr txBox="1"/>
          <p:nvPr/>
        </p:nvSpPr>
        <p:spPr>
          <a:xfrm>
            <a:off x="6095999" y="3097499"/>
            <a:ext cx="5213131" cy="923330"/>
          </a:xfrm>
          <a:prstGeom prst="roundRect">
            <a:avLst>
              <a:gd name="adj" fmla="val 0"/>
            </a:avLst>
          </a:prstGeom>
          <a:solidFill>
            <a:srgbClr val="00B0F0"/>
          </a:solidFill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Rd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en-US" sz="180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lantamab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80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fodotin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lenalidomide, dexamethasone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52E4D4-93D5-87D0-0081-81508CFE0BAD}"/>
              </a:ext>
            </a:extLst>
          </p:cNvPr>
          <p:cNvSpPr txBox="1"/>
          <p:nvPr/>
        </p:nvSpPr>
        <p:spPr>
          <a:xfrm>
            <a:off x="6095998" y="4323369"/>
            <a:ext cx="5213131" cy="646331"/>
          </a:xfrm>
          <a:prstGeom prst="roundRect">
            <a:avLst>
              <a:gd name="adj" fmla="val 0"/>
            </a:avLst>
          </a:prstGeom>
          <a:solidFill>
            <a:srgbClr val="FF9300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Rd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daratumumab, lenalidomide, dexamethasone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1AEA208-DD6E-436D-90D7-4608521AAB21}"/>
              </a:ext>
            </a:extLst>
          </p:cNvPr>
          <p:cNvSpPr txBox="1"/>
          <p:nvPr/>
        </p:nvSpPr>
        <p:spPr>
          <a:xfrm>
            <a:off x="635577" y="1889250"/>
            <a:ext cx="29738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ial identifier: NCT0667910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stimated enrollment: 520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410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3583"/>
            <a:ext cx="10358967" cy="1143000"/>
          </a:xfrm>
        </p:spPr>
        <p:txBody>
          <a:bodyPr/>
          <a:lstStyle/>
          <a:p>
            <a:r>
              <a:rPr lang="en-US" sz="3200" dirty="0"/>
              <a:t>Dr Orlowski </a:t>
            </a:r>
            <a:r>
              <a:rPr lang="en-US" sz="3200" dirty="0">
                <a:solidFill>
                  <a:srgbClr val="0432FF"/>
                </a:solidFill>
              </a:rPr>
              <a:t>— Disclosures</a:t>
            </a:r>
          </a:p>
        </p:txBody>
      </p:sp>
      <p:graphicFrame>
        <p:nvGraphicFramePr>
          <p:cNvPr id="3" name="Content Placeholder 3">
            <a:extLst>
              <a:ext uri="{FF2B5EF4-FFF2-40B4-BE49-F238E27FC236}">
                <a16:creationId xmlns:a16="http://schemas.microsoft.com/office/drawing/2014/main" id="{7BDD4508-FB85-AE38-E8F6-548512379540}"/>
              </a:ext>
            </a:extLst>
          </p:cNvPr>
          <p:cNvGraphicFramePr>
            <a:graphicFrameLocks/>
          </p:cNvGraphicFramePr>
          <p:nvPr/>
        </p:nvGraphicFramePr>
        <p:xfrm>
          <a:off x="983432" y="1700808"/>
          <a:ext cx="10657184" cy="252028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3123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44816">
                  <a:extLst>
                    <a:ext uri="{9D8B030D-6E8A-4147-A177-3AD203B41FA5}">
                      <a16:colId xmlns:a16="http://schemas.microsoft.com/office/drawing/2014/main" val="3833924404"/>
                    </a:ext>
                  </a:extLst>
                </a:gridCol>
              </a:tblGrid>
              <a:tr h="1740193"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Advisory Committees and Consulting Agreements</a:t>
                      </a:r>
                      <a:endParaRPr lang="en-US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AbbVie Inc, Adaptive Biotechnologies Corporation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Asylia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Therapeutics Inc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Biotheryx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, Bristol Myers Squibb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CellCentric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, DEM BioPharma, IASO Bio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Karyopharm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Therapeutics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Lytica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Therapeutics, Meridian Therapeutics, Monte Rosa Therapeutics, MYELOMA360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Neoleukin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Therapeutics Inc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Oncopeptides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, Pfizer Inc, Regeneron Pharmaceuticals Inc, Sanofi, Takeda Pharmaceuticals USA Inc</a:t>
                      </a:r>
                      <a:endParaRPr lang="en-US" sz="18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0087"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ock Options — Private Companies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ylia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erapeutics Inc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09686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24268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393950-45FF-A757-EB96-7DEF9E1ADE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4F8A03-1AB6-1E8F-44DB-D8CF7C0AB9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620689"/>
            <a:ext cx="10358967" cy="5400600"/>
          </a:xfrm>
        </p:spPr>
        <p:txBody>
          <a:bodyPr anchor="ctr"/>
          <a:lstStyle/>
          <a:p>
            <a:pPr marL="98425" indent="0" algn="ctr">
              <a:buNone/>
            </a:pPr>
            <a:r>
              <a:rPr lang="en-US" sz="4000" dirty="0"/>
              <a:t>Would you recommend </a:t>
            </a:r>
            <a:r>
              <a:rPr lang="en-US" sz="4000" dirty="0" err="1"/>
              <a:t>belantamab</a:t>
            </a:r>
            <a:r>
              <a:rPr lang="en-US" sz="4000" dirty="0"/>
              <a:t> </a:t>
            </a:r>
            <a:r>
              <a:rPr lang="en-US" sz="4000" dirty="0" err="1"/>
              <a:t>mafodotin</a:t>
            </a:r>
            <a:r>
              <a:rPr lang="en-US" sz="4000" dirty="0"/>
              <a:t> for a patient with relapsed/refractory MM who has previously received both BCMA-directed CAR T-cell therapy and a BCMA-directed </a:t>
            </a:r>
            <a:r>
              <a:rPr lang="en-US" sz="4000"/>
              <a:t>bispecific antibody (BS)?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1186984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4516E7-AFDE-42E0-D96E-9D169B0A01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87A8D5B-1FD9-CC8E-AF7C-F1C2A1024CB9}"/>
              </a:ext>
            </a:extLst>
          </p:cNvPr>
          <p:cNvSpPr/>
          <p:nvPr/>
        </p:nvSpPr>
        <p:spPr bwMode="auto">
          <a:xfrm>
            <a:off x="407368" y="3861048"/>
            <a:ext cx="11449272" cy="576064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5A12B3-A643-DF28-66E3-DE7A29316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51" y="332656"/>
            <a:ext cx="1015269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br>
              <a:rPr lang="en-US" dirty="0"/>
            </a:br>
            <a:br>
              <a:rPr lang="en-US" sz="1200" dirty="0"/>
            </a:br>
            <a:r>
              <a:rPr lang="en-US" dirty="0"/>
              <a:t>Year in Review: Management of Multiple Myeloma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0A14A7-B058-FBA6-5925-CE384EE190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9533" y="1988840"/>
            <a:ext cx="9774980" cy="2736304"/>
          </a:xfrm>
        </p:spPr>
        <p:txBody>
          <a:bodyPr/>
          <a:lstStyle/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CO 2025 Preview</a:t>
            </a:r>
            <a:endParaRPr lang="en-US" sz="2400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1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ti-CD38 Antibodies</a:t>
            </a:r>
            <a:endParaRPr lang="en-US" sz="2400" b="1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2: </a:t>
            </a:r>
            <a:r>
              <a:rPr lang="en-US" sz="2400" b="1" kern="0" dirty="0" err="1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Belantamab</a:t>
            </a:r>
            <a:r>
              <a:rPr lang="en-US" sz="2400" b="1" kern="0" dirty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1" kern="0" dirty="0" err="1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Mafodotin</a:t>
            </a:r>
            <a:endParaRPr lang="en-US" sz="2400" b="1" kern="0" dirty="0">
              <a:solidFill>
                <a:srgbClr val="212121"/>
              </a:solidFill>
              <a:effectLst/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chemeClr val="bg1"/>
                </a:solidFill>
              </a:rPr>
              <a:t>MODULE 3: </a:t>
            </a:r>
            <a:r>
              <a:rPr lang="en-US" sz="2400" b="1" kern="0" dirty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AR T-Cell Therapy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4: </a:t>
            </a:r>
            <a:r>
              <a:rPr lang="en-US" sz="2400" b="1" kern="0" dirty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Bispecific Antibodies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5: </a:t>
            </a:r>
            <a:r>
              <a:rPr lang="en-US" sz="240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Other</a:t>
            </a:r>
            <a:r>
              <a:rPr lang="en-US" sz="2400" dirty="0">
                <a:solidFill>
                  <a:srgbClr val="3233FF"/>
                </a:solidFill>
              </a:rPr>
              <a:t> </a:t>
            </a:r>
            <a:r>
              <a:rPr lang="en-US" sz="2400" b="1" kern="0" dirty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Novel Agents</a:t>
            </a:r>
          </a:p>
        </p:txBody>
      </p:sp>
    </p:spTree>
    <p:extLst>
      <p:ext uri="{BB962C8B-B14F-4D97-AF65-F5344CB8AC3E}">
        <p14:creationId xmlns:p14="http://schemas.microsoft.com/office/powerpoint/2010/main" val="3832129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714815FB-0D88-1935-79B8-E996D563B1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779" y="101776"/>
            <a:ext cx="11460480" cy="914400"/>
          </a:xfrm>
        </p:spPr>
        <p:txBody>
          <a:bodyPr/>
          <a:lstStyle/>
          <a:p>
            <a:r>
              <a:rPr lang="en-US" dirty="0"/>
              <a:t>Phase 2 iMMagine-1: Anito-cel - Preliminary efficacy data for an anti-BCMA CAR T-cell therapy in RRMM 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8CCC6AA-966C-43FA-4B28-5D562880A255}"/>
              </a:ext>
            </a:extLst>
          </p:cNvPr>
          <p:cNvSpPr txBox="1">
            <a:spLocks noGrp="1"/>
          </p:cNvSpPr>
          <p:nvPr>
            <p:ph type="body" sz="quarter" idx="13"/>
          </p:nvPr>
        </p:nvSpPr>
        <p:spPr>
          <a:xfrm>
            <a:off x="285832" y="5661248"/>
            <a:ext cx="11827510" cy="816941"/>
          </a:xfrm>
          <a:prstGeom prst="rect">
            <a:avLst/>
          </a:prstGeom>
        </p:spPr>
        <p:txBody>
          <a:bodyPr anchor="b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Trebuchet MS" panose="020B0603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rebuchet MS" panose="020B0603020202020204" pitchFamily="34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CB7C78"/>
                </a:solidFill>
                <a:effectLst/>
                <a:uLnTx/>
                <a:uFillTx/>
              </a:rPr>
              <a:t>Anito-cel is an investigational product, currently not approved by any regulatory agency.</a:t>
            </a:r>
          </a:p>
          <a:p>
            <a:pPr marL="0" indent="0">
              <a:spcBef>
                <a:spcPts val="0"/>
              </a:spcBef>
              <a:buNone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-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ve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, negative; Anito-cel,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anitocabtagene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</a:rPr>
              <a:t>autoleucel</a:t>
            </a:r>
            <a:r>
              <a:rPr lang="en-GB" sz="800" dirty="0"/>
              <a:t>; ASCT, autologous stem cell transplant; CAR T, chimeric antigen receptor T cell; CR, complete response; f/u, follow up; </a:t>
            </a:r>
            <a:r>
              <a:rPr lang="en-GB" sz="800" dirty="0" err="1"/>
              <a:t>mo</a:t>
            </a:r>
            <a:r>
              <a:rPr lang="en-GB" sz="800" dirty="0"/>
              <a:t>, month; </a:t>
            </a:r>
            <a:r>
              <a:rPr lang="en-GB" sz="800" dirty="0" err="1"/>
              <a:t>MRDng</a:t>
            </a:r>
            <a:r>
              <a:rPr lang="en-GB" sz="800" dirty="0"/>
              <a:t>, </a:t>
            </a:r>
            <a:r>
              <a:rPr lang="en-GB" sz="800" dirty="0">
                <a:cs typeface="Segoe UI"/>
              </a:rPr>
              <a:t>minimal residual disease negativity rate; ORR</a:t>
            </a:r>
            <a:r>
              <a:rPr lang="en-GB" sz="800" dirty="0"/>
              <a:t>, overall response rate; OS, overall survival; PFS, progression-free survival; PR, partial response; RRMM, relapse/refractory multiple myeloma; </a:t>
            </a:r>
            <a:r>
              <a:rPr lang="en-GB" sz="800" dirty="0" err="1"/>
              <a:t>sCR</a:t>
            </a:r>
            <a:r>
              <a:rPr lang="en-GB" sz="800" dirty="0"/>
              <a:t>, stringent CR; TEAE, treatment-emergent adverse event; VGPR, very good PR; yr, year. </a:t>
            </a:r>
          </a:p>
          <a:p>
            <a:pPr marL="0" indent="0" algn="r">
              <a:spcBef>
                <a:spcPts val="0"/>
              </a:spcBef>
              <a:buNone/>
              <a:defRPr/>
            </a:pPr>
            <a:endParaRPr lang="en-GB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0" indent="0" algn="r">
              <a:spcBef>
                <a:spcPts val="0"/>
              </a:spcBef>
              <a:buNone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Freeman CL et al. Oral presentation at ASH</a:t>
            </a:r>
            <a:r>
              <a:rPr lang="en-GB" sz="1000" dirty="0"/>
              <a:t> 2024.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 Abstract 1031.</a:t>
            </a:r>
            <a:endParaRPr lang="en-GB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id="{AD217677-3EC1-11A5-4C0D-99C354378927}"/>
              </a:ext>
            </a:extLst>
          </p:cNvPr>
          <p:cNvGraphicFramePr>
            <a:graphicFrameLocks noGrp="1"/>
          </p:cNvGraphicFramePr>
          <p:nvPr/>
        </p:nvGraphicFramePr>
        <p:xfrm>
          <a:off x="237466" y="1432800"/>
          <a:ext cx="4242729" cy="3992400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2066599">
                  <a:extLst>
                    <a:ext uri="{9D8B030D-6E8A-4147-A177-3AD203B41FA5}">
                      <a16:colId xmlns:a16="http://schemas.microsoft.com/office/drawing/2014/main" val="448902403"/>
                    </a:ext>
                  </a:extLst>
                </a:gridCol>
                <a:gridCol w="1088065">
                  <a:extLst>
                    <a:ext uri="{9D8B030D-6E8A-4147-A177-3AD203B41FA5}">
                      <a16:colId xmlns:a16="http://schemas.microsoft.com/office/drawing/2014/main" val="1052019350"/>
                    </a:ext>
                  </a:extLst>
                </a:gridCol>
                <a:gridCol w="1088065">
                  <a:extLst>
                    <a:ext uri="{9D8B030D-6E8A-4147-A177-3AD203B41FA5}">
                      <a16:colId xmlns:a16="http://schemas.microsoft.com/office/drawing/2014/main" val="3750351103"/>
                    </a:ext>
                  </a:extLst>
                </a:gridCol>
              </a:tblGrid>
              <a:tr h="201054">
                <a:tc>
                  <a:txBody>
                    <a:bodyPr/>
                    <a:lstStyle/>
                    <a:p>
                      <a:pPr marL="0" marR="0" lvl="0" indent="0" algn="l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latin typeface="+mn-lt"/>
                        </a:rPr>
                        <a:t>Patient </a:t>
                      </a:r>
                      <a:br>
                        <a:rPr lang="en-US" sz="1400" dirty="0">
                          <a:solidFill>
                            <a:srgbClr val="FFFFFF"/>
                          </a:solidFill>
                          <a:latin typeface="+mn-lt"/>
                        </a:rPr>
                      </a:br>
                      <a:r>
                        <a:rPr lang="en-US" sz="1400" dirty="0">
                          <a:solidFill>
                            <a:schemeClr val="bg1"/>
                          </a:solidFill>
                          <a:latin typeface="+mn-lt"/>
                        </a:rPr>
                        <a:t>characteristics</a:t>
                      </a:r>
                      <a:endParaRPr lang="en-US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400" b="1">
                          <a:solidFill>
                            <a:schemeClr val="bg1"/>
                          </a:solidFill>
                          <a:latin typeface="+mn-lt"/>
                        </a:rPr>
                        <a:t>Safety evaluable </a:t>
                      </a:r>
                      <a:br>
                        <a:rPr lang="pt-BR" sz="1400" b="1">
                          <a:solidFill>
                            <a:srgbClr val="FFFFFF"/>
                          </a:solidFill>
                          <a:latin typeface="+mn-lt"/>
                        </a:rPr>
                      </a:br>
                      <a:r>
                        <a:rPr lang="pt-BR" sz="1400" b="1">
                          <a:solidFill>
                            <a:schemeClr val="bg1"/>
                          </a:solidFill>
                          <a:latin typeface="+mn-lt"/>
                        </a:rPr>
                        <a:t>(N=98)</a:t>
                      </a: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400" b="1" dirty="0">
                          <a:solidFill>
                            <a:schemeClr val="bg1"/>
                          </a:solidFill>
                          <a:latin typeface="+mn-lt"/>
                        </a:rPr>
                        <a:t>Efficacy evaluable</a:t>
                      </a:r>
                    </a:p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400" b="1" dirty="0">
                          <a:solidFill>
                            <a:schemeClr val="bg1"/>
                          </a:solidFill>
                          <a:latin typeface="+mn-lt"/>
                        </a:rPr>
                        <a:t>(N=86)</a:t>
                      </a:r>
                    </a:p>
                  </a:txBody>
                  <a:tcPr marL="72000" marR="72000" marT="36000" marB="36000" anchor="ctr"/>
                </a:tc>
                <a:extLst>
                  <a:ext uri="{0D108BD9-81ED-4DB2-BD59-A6C34878D82A}">
                    <a16:rowId xmlns:a16="http://schemas.microsoft.com/office/drawing/2014/main" val="3841004616"/>
                  </a:ext>
                </a:extLst>
              </a:tr>
              <a:tr h="115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marR="0" lvl="0" indent="0" algn="l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sym typeface="OpenSans"/>
                        </a:rPr>
                        <a:t>Median age (yrs)</a:t>
                      </a:r>
                      <a:endParaRPr lang="en-US"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latin typeface="+mn-lt"/>
                        </a:rPr>
                        <a:t>65</a:t>
                      </a:r>
                      <a:endParaRPr lang="en-US" sz="14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</a:rPr>
                        <a:t>65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extLst>
                  <a:ext uri="{0D108BD9-81ED-4DB2-BD59-A6C34878D82A}">
                    <a16:rowId xmlns:a16="http://schemas.microsoft.com/office/drawing/2014/main" val="3715687011"/>
                  </a:ext>
                </a:extLst>
              </a:tr>
              <a:tr h="234033">
                <a:tc gridSpan="3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</a:rPr>
                        <a:t>Previous lines of therapy 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b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b="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T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7160957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10795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>
                          <a:solidFill>
                            <a:schemeClr val="tx1"/>
                          </a:solidFill>
                          <a:latin typeface="+mn-lt"/>
                        </a:rPr>
                        <a:t>Lines of prior therapy, median (min-max)</a:t>
                      </a:r>
                      <a:endParaRPr lang="en-GB" sz="1400" b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 (3-8)</a:t>
                      </a:r>
                      <a:endParaRPr lang="en-US" sz="1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 (3-8)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extLst>
                  <a:ext uri="{0D108BD9-81ED-4DB2-BD59-A6C34878D82A}">
                    <a16:rowId xmlns:a16="http://schemas.microsoft.com/office/drawing/2014/main" val="3335254038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10795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>
                          <a:solidFill>
                            <a:schemeClr val="tx1"/>
                          </a:solidFill>
                          <a:latin typeface="+mn-lt"/>
                        </a:rPr>
                        <a:t>3 prior lines of therapy </a:t>
                      </a:r>
                      <a:endParaRPr lang="en-GB" sz="1400" b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5 (46%)</a:t>
                      </a:r>
                      <a:endParaRPr lang="en-US" sz="1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7 (43%)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extLst>
                  <a:ext uri="{0D108BD9-81ED-4DB2-BD59-A6C34878D82A}">
                    <a16:rowId xmlns:a16="http://schemas.microsoft.com/office/drawing/2014/main" val="3008529778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10795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>
                          <a:solidFill>
                            <a:schemeClr val="tx1"/>
                          </a:solidFill>
                          <a:latin typeface="+mn-lt"/>
                        </a:rPr>
                        <a:t>Triple refractory</a:t>
                      </a:r>
                      <a:endParaRPr lang="en-GB" sz="1400" b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5 (87%)</a:t>
                      </a:r>
                      <a:endParaRPr lang="en-US" sz="1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4 (86%)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extLst>
                  <a:ext uri="{0D108BD9-81ED-4DB2-BD59-A6C34878D82A}">
                    <a16:rowId xmlns:a16="http://schemas.microsoft.com/office/drawing/2014/main" val="3367128258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10795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>
                          <a:solidFill>
                            <a:schemeClr val="tx1"/>
                          </a:solidFill>
                          <a:latin typeface="+mn-lt"/>
                        </a:rPr>
                        <a:t>Penta refractory</a:t>
                      </a:r>
                      <a:endParaRPr lang="en-GB" sz="1400" b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1 (42%)</a:t>
                      </a:r>
                      <a:endParaRPr lang="en-US" sz="1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7 (43%)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extLst>
                  <a:ext uri="{0D108BD9-81ED-4DB2-BD59-A6C34878D82A}">
                    <a16:rowId xmlns:a16="http://schemas.microsoft.com/office/drawing/2014/main" val="1258218812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</a:rPr>
                        <a:t>Prior ASCT </a:t>
                      </a:r>
                      <a:endParaRPr lang="en-US" sz="1400" b="0">
                        <a:solidFill>
                          <a:schemeClr val="tx1"/>
                        </a:solidFill>
                        <a:latin typeface="+mn-lt"/>
                        <a:ea typeface="Calibri"/>
                        <a:cs typeface="Calibri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3 (75%)</a:t>
                      </a:r>
                      <a:endParaRPr lang="en-US" sz="1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4 (74%)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extLst>
                  <a:ext uri="{0D108BD9-81ED-4DB2-BD59-A6C34878D82A}">
                    <a16:rowId xmlns:a16="http://schemas.microsoft.com/office/drawing/2014/main" val="3345995291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</a:rPr>
                        <a:t>Bridging therapy</a:t>
                      </a:r>
                      <a:endParaRPr lang="en-US" sz="1400" b="0">
                        <a:solidFill>
                          <a:schemeClr val="tx1"/>
                        </a:solidFill>
                        <a:latin typeface="+mn-lt"/>
                        <a:ea typeface="Calibri"/>
                        <a:cs typeface="Calibri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5 (66%)</a:t>
                      </a:r>
                      <a:endParaRPr lang="en-US" sz="1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1 (71%)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extLst>
                  <a:ext uri="{0D108BD9-81ED-4DB2-BD59-A6C34878D82A}">
                    <a16:rowId xmlns:a16="http://schemas.microsoft.com/office/drawing/2014/main" val="3115810865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en-US" sz="1400" b="0" baseline="0">
                          <a:solidFill>
                            <a:schemeClr val="tx1"/>
                          </a:solidFill>
                          <a:latin typeface="+mn-lt"/>
                        </a:rPr>
                        <a:t>Outpatient administration</a:t>
                      </a:r>
                      <a:endParaRPr lang="en-US" sz="1400" b="0" i="0" baseline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 (8%)</a:t>
                      </a:r>
                      <a:endParaRPr lang="en-US" sz="1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 (6%)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extLst>
                  <a:ext uri="{0D108BD9-81ED-4DB2-BD59-A6C34878D82A}">
                    <a16:rowId xmlns:a16="http://schemas.microsoft.com/office/drawing/2014/main" val="2576271662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</a:rPr>
                        <a:t>Median time since diagnosis (yrs)</a:t>
                      </a:r>
                      <a:endParaRPr lang="en-US" sz="1400" b="0" i="0" baseline="3000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.2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.5</a:t>
                      </a:r>
                      <a:endParaRPr lang="en-US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/>
                </a:tc>
                <a:extLst>
                  <a:ext uri="{0D108BD9-81ED-4DB2-BD59-A6C34878D82A}">
                    <a16:rowId xmlns:a16="http://schemas.microsoft.com/office/drawing/2014/main" val="3756328766"/>
                  </a:ext>
                </a:extLst>
              </a:tr>
            </a:tbl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8E7C3CDB-F557-BAE8-65DA-C9BCE01F4BF2}"/>
              </a:ext>
            </a:extLst>
          </p:cNvPr>
          <p:cNvSpPr txBox="1"/>
          <p:nvPr/>
        </p:nvSpPr>
        <p:spPr>
          <a:xfrm>
            <a:off x="7944464" y="2677513"/>
            <a:ext cx="4101047" cy="1471700"/>
          </a:xfrm>
          <a:prstGeom prst="rect">
            <a:avLst/>
          </a:prstGeom>
          <a:solidFill>
            <a:srgbClr val="FFECCD"/>
          </a:solidFill>
        </p:spPr>
        <p:txBody>
          <a:bodyPr wrap="square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BE2BB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R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7% and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R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CR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2% at 9.5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median f/u)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BE2BB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RD –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ate at 10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5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r lower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3.1% (54/58)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BE2BB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FS rate at 6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3.3% an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 12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8.5%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BE2BB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 rate at 6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6.5% an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 12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6.5% </a:t>
            </a:r>
          </a:p>
        </p:txBody>
      </p:sp>
      <p:grpSp>
        <p:nvGrpSpPr>
          <p:cNvPr id="7" name="Ομάδα 6">
            <a:extLst>
              <a:ext uri="{FF2B5EF4-FFF2-40B4-BE49-F238E27FC236}">
                <a16:creationId xmlns:a16="http://schemas.microsoft.com/office/drawing/2014/main" id="{500FE61D-291F-7FF8-9DDD-EE2EBC9FB6BB}"/>
              </a:ext>
            </a:extLst>
          </p:cNvPr>
          <p:cNvGrpSpPr/>
          <p:nvPr/>
        </p:nvGrpSpPr>
        <p:grpSpPr>
          <a:xfrm>
            <a:off x="4609899" y="1238594"/>
            <a:ext cx="3101908" cy="4186606"/>
            <a:chOff x="4609899" y="1238594"/>
            <a:chExt cx="2509347" cy="3386340"/>
          </a:xfrm>
        </p:grpSpPr>
        <p:graphicFrame>
          <p:nvGraphicFramePr>
            <p:cNvPr id="17" name="Chart 16">
              <a:extLst>
                <a:ext uri="{FF2B5EF4-FFF2-40B4-BE49-F238E27FC236}">
                  <a16:creationId xmlns:a16="http://schemas.microsoft.com/office/drawing/2014/main" id="{A87315F2-E338-643D-B044-90D019A53226}"/>
                </a:ext>
              </a:extLst>
            </p:cNvPr>
            <p:cNvGraphicFramePr/>
            <p:nvPr/>
          </p:nvGraphicFramePr>
          <p:xfrm>
            <a:off x="4609899" y="1238594"/>
            <a:ext cx="2379643" cy="338634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167A663-EE71-636B-390D-A61FDE71BBAC}"/>
                </a:ext>
              </a:extLst>
            </p:cNvPr>
            <p:cNvSpPr txBox="1"/>
            <p:nvPr/>
          </p:nvSpPr>
          <p:spPr>
            <a:xfrm>
              <a:off x="6470104" y="1766563"/>
              <a:ext cx="649142" cy="430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0" u="none" strike="noStrike" kern="1200" cap="none" spc="0" normalizeH="0" baseline="0" noProof="0">
                  <a:ln>
                    <a:noFill/>
                  </a:ln>
                  <a:solidFill>
                    <a:srgbClr val="BE2BBB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≥VGP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100" b="1" i="0" u="none" strike="noStrike" kern="1200" cap="none" spc="0" normalizeH="0" baseline="0" noProof="0">
                  <a:ln>
                    <a:noFill/>
                  </a:ln>
                  <a:solidFill>
                    <a:srgbClr val="BE2BBB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81%</a:t>
              </a: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5B599B9A-BBED-F92E-AB51-0D27FFD581F1}"/>
                </a:ext>
              </a:extLst>
            </p:cNvPr>
            <p:cNvCxnSpPr>
              <a:cxnSpLocks/>
            </p:cNvCxnSpPr>
            <p:nvPr/>
          </p:nvCxnSpPr>
          <p:spPr>
            <a:xfrm>
              <a:off x="6470104" y="1838816"/>
              <a:ext cx="0" cy="1590184"/>
            </a:xfrm>
            <a:prstGeom prst="line">
              <a:avLst/>
            </a:prstGeom>
            <a:ln w="38100" cap="flat">
              <a:solidFill>
                <a:srgbClr val="BE2BB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5CAD9E4-3B87-B521-0E91-BF0CE6705FC3}"/>
              </a:ext>
            </a:extLst>
          </p:cNvPr>
          <p:cNvSpPr txBox="1"/>
          <p:nvPr/>
        </p:nvSpPr>
        <p:spPr>
          <a:xfrm>
            <a:off x="144966" y="6490010"/>
            <a:ext cx="33927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Thanos C Dimopoulos, MD</a:t>
            </a:r>
          </a:p>
        </p:txBody>
      </p:sp>
    </p:spTree>
    <p:extLst>
      <p:ext uri="{BB962C8B-B14F-4D97-AF65-F5344CB8AC3E}">
        <p14:creationId xmlns:p14="http://schemas.microsoft.com/office/powerpoint/2010/main" val="408542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BD8FC252-8A4D-147E-8A56-34174AF0FF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66DBC69D-2AC0-1E78-D9A6-3AB477015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779" y="101776"/>
            <a:ext cx="11460480" cy="914400"/>
          </a:xfrm>
        </p:spPr>
        <p:txBody>
          <a:bodyPr/>
          <a:lstStyle/>
          <a:p>
            <a:r>
              <a:rPr lang="en-US" dirty="0"/>
              <a:t>Phase 2 iMMagine-1: Anito-cel - Preliminary Safety Data in RRMM 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3CBB36A-23F5-CF44-6E58-284750F7CE51}"/>
              </a:ext>
            </a:extLst>
          </p:cNvPr>
          <p:cNvSpPr txBox="1">
            <a:spLocks noGrp="1"/>
          </p:cNvSpPr>
          <p:nvPr>
            <p:ph type="body" sz="quarter" idx="13"/>
          </p:nvPr>
        </p:nvSpPr>
        <p:spPr>
          <a:xfrm>
            <a:off x="730250" y="6441169"/>
            <a:ext cx="11461750" cy="416831"/>
          </a:xfrm>
          <a:prstGeom prst="rect">
            <a:avLst/>
          </a:prstGeom>
        </p:spPr>
        <p:txBody>
          <a:bodyPr anchor="b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Trebuchet MS" panose="020B0603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  <a:defRPr/>
            </a:pPr>
            <a:endParaRPr lang="en-GB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0" indent="0" algn="r">
              <a:spcBef>
                <a:spcPts val="0"/>
              </a:spcBef>
              <a:buNone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Freeman CL et al. Oral presentation at ASH</a:t>
            </a:r>
            <a:r>
              <a:rPr lang="en-GB" sz="1000" dirty="0"/>
              <a:t> 2024.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 Abstract 1031.</a:t>
            </a:r>
            <a:endParaRPr lang="en-GB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23" name="Table 4">
            <a:extLst>
              <a:ext uri="{FF2B5EF4-FFF2-40B4-BE49-F238E27FC236}">
                <a16:creationId xmlns:a16="http://schemas.microsoft.com/office/drawing/2014/main" id="{09E5C1E9-52B0-11C7-788A-12BC9CD3DF01}"/>
              </a:ext>
            </a:extLst>
          </p:cNvPr>
          <p:cNvGraphicFramePr>
            <a:graphicFrameLocks noGrp="1"/>
          </p:cNvGraphicFramePr>
          <p:nvPr/>
        </p:nvGraphicFramePr>
        <p:xfrm>
          <a:off x="916888" y="1858314"/>
          <a:ext cx="5651060" cy="3665520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3786941">
                  <a:extLst>
                    <a:ext uri="{9D8B030D-6E8A-4147-A177-3AD203B41FA5}">
                      <a16:colId xmlns:a16="http://schemas.microsoft.com/office/drawing/2014/main" val="448902403"/>
                    </a:ext>
                  </a:extLst>
                </a:gridCol>
                <a:gridCol w="1864119">
                  <a:extLst>
                    <a:ext uri="{9D8B030D-6E8A-4147-A177-3AD203B41FA5}">
                      <a16:colId xmlns:a16="http://schemas.microsoft.com/office/drawing/2014/main" val="1052019350"/>
                    </a:ext>
                  </a:extLst>
                </a:gridCol>
              </a:tblGrid>
              <a:tr h="201054">
                <a:tc>
                  <a:txBody>
                    <a:bodyPr/>
                    <a:lstStyle/>
                    <a:p>
                      <a:pPr marL="0" marR="0" lvl="0" indent="0" algn="l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>
                          <a:solidFill>
                            <a:schemeClr val="bg1"/>
                          </a:solidFill>
                          <a:latin typeface="+mn-lt"/>
                        </a:rPr>
                        <a:t>Event</a:t>
                      </a:r>
                      <a:endParaRPr lang="en-US" sz="18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800" b="1" dirty="0">
                          <a:solidFill>
                            <a:schemeClr val="bg1"/>
                          </a:solidFill>
                          <a:latin typeface="+mn-lt"/>
                        </a:rPr>
                        <a:t>Safety evaluable (N=98)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1004616"/>
                  </a:ext>
                </a:extLst>
              </a:tr>
              <a:tr h="115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marR="0" lvl="0" indent="0" algn="l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latin typeface="+mn-lt"/>
                          <a:sym typeface="OpenSans"/>
                        </a:rPr>
                        <a:t>CRS, any grade (%)</a:t>
                      </a:r>
                      <a:endParaRPr lang="en-US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0" kern="1200">
                          <a:solidFill>
                            <a:schemeClr val="tx1"/>
                          </a:solidFill>
                          <a:latin typeface="+mn-lt"/>
                        </a:rPr>
                        <a:t>83</a:t>
                      </a:r>
                      <a:endParaRPr lang="en-US" sz="18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5687011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0" marR="0" lvl="0" indent="0" algn="l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kern="1200">
                          <a:solidFill>
                            <a:schemeClr val="tx1"/>
                          </a:solidFill>
                          <a:latin typeface="+mn-lt"/>
                          <a:sym typeface="OpenSans"/>
                        </a:rPr>
                        <a:t>Median onset (days)</a:t>
                      </a:r>
                      <a:endParaRPr lang="en-US"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0" kern="120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  <a:endParaRPr lang="en-US" sz="18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3566347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>
                          <a:solidFill>
                            <a:schemeClr val="tx1"/>
                          </a:solidFill>
                          <a:latin typeface="+mn-lt"/>
                        </a:rPr>
                        <a:t>ICANS, any grade (%)</a:t>
                      </a:r>
                      <a:endParaRPr lang="en-GB" sz="1800" b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en-US" sz="18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2076541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Median onset (days)</a:t>
                      </a:r>
                      <a:endParaRPr lang="en-GB" sz="1800" b="0" dirty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en-US" sz="18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8446620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TEAEs (non-CRS/non-ICANS), Gr 3/4 after cell infusion (%)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5995291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109728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</a:pPr>
                      <a:r>
                        <a:rPr lang="en-US" sz="18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Neutropenia </a:t>
                      </a:r>
                      <a:endParaRPr lang="en-US" sz="1800" b="0" i="0" baseline="0" dirty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Open Sans"/>
                        </a:defRPr>
                      </a:lvl9pPr>
                    </a:lstStyle>
                    <a:p>
                      <a:pPr marL="0" marR="0" lvl="0" indent="0" algn="ctr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4</a:t>
                      </a:r>
                      <a:endParaRPr lang="en-US" sz="18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6328766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108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Anemia</a:t>
                      </a:r>
                      <a:r>
                        <a:rPr lang="en-GB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endParaRPr lang="en-GB" sz="1800" b="0" dirty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en-US" sz="18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1478584"/>
                  </a:ext>
                </a:extLst>
              </a:tr>
              <a:tr h="115040">
                <a:tc>
                  <a:txBody>
                    <a:bodyPr/>
                    <a:lstStyle/>
                    <a:p>
                      <a:pPr marL="108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>
                          <a:solidFill>
                            <a:schemeClr val="tx1"/>
                          </a:solidFill>
                          <a:latin typeface="+mn-lt"/>
                        </a:rPr>
                        <a:t>Thrombocytopenia</a:t>
                      </a:r>
                      <a:endParaRPr lang="en-GB" sz="1800" b="0" dirty="0">
                        <a:solidFill>
                          <a:schemeClr val="tx1"/>
                        </a:solidFill>
                        <a:latin typeface="+mn-lt"/>
                        <a:ea typeface="MS Mincho"/>
                        <a:cs typeface="ArialMT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</a:t>
                      </a:r>
                      <a:endParaRPr lang="en-US" sz="18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7702407"/>
                  </a:ext>
                </a:extLst>
              </a:tr>
            </a:tbl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2E475248-003B-2846-2A30-E00D2596D862}"/>
              </a:ext>
            </a:extLst>
          </p:cNvPr>
          <p:cNvSpPr txBox="1"/>
          <p:nvPr/>
        </p:nvSpPr>
        <p:spPr>
          <a:xfrm>
            <a:off x="6980903" y="2678904"/>
            <a:ext cx="4984955" cy="2202410"/>
          </a:xfrm>
          <a:prstGeom prst="rect">
            <a:avLst/>
          </a:prstGeom>
          <a:solidFill>
            <a:srgbClr val="FFECCD"/>
          </a:solidFill>
        </p:spPr>
        <p:txBody>
          <a:bodyPr wrap="square" lIns="45720" rIns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BE2BB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6% of patients with ≤Gr1 CRS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BE2BB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1% of patients with no ICA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BE2BB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 delayed or non-ICANS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urotoxiciti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 date</a:t>
            </a: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BE2BB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st common ≥Gr3 TEAEs: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ytopenia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BE2BB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 deaths due to TEA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FE2FA6A-25FA-9D54-8E68-373C332F8B69}"/>
              </a:ext>
            </a:extLst>
          </p:cNvPr>
          <p:cNvSpPr txBox="1"/>
          <p:nvPr/>
        </p:nvSpPr>
        <p:spPr>
          <a:xfrm>
            <a:off x="144966" y="6490010"/>
            <a:ext cx="33927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Thanos C Dimopoulos, MD</a:t>
            </a:r>
          </a:p>
        </p:txBody>
      </p:sp>
    </p:spTree>
    <p:extLst>
      <p:ext uri="{BB962C8B-B14F-4D97-AF65-F5344CB8AC3E}">
        <p14:creationId xmlns:p14="http://schemas.microsoft.com/office/powerpoint/2010/main" val="3817322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5B7A3FF2-1857-F296-89F4-89A1FC6F90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B85669EA-CCF5-9094-3D2D-D2AC512C2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779" y="101776"/>
            <a:ext cx="11460480" cy="914400"/>
          </a:xfrm>
        </p:spPr>
        <p:txBody>
          <a:bodyPr/>
          <a:lstStyle/>
          <a:p>
            <a:r>
              <a:rPr lang="en-US" i="0" dirty="0">
                <a:solidFill>
                  <a:srgbClr val="C00000"/>
                </a:solidFill>
                <a:effectLst/>
              </a:rPr>
              <a:t>Phase I Trial of MCARH109, a GPRC5D-Targeted Chimeric Antigen Receptor T-Cell Therapy for RR Multiple Myeloma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DACF98F-E118-D590-0A2C-4A10BD7B603A}"/>
              </a:ext>
            </a:extLst>
          </p:cNvPr>
          <p:cNvSpPr txBox="1">
            <a:spLocks noGrp="1"/>
          </p:cNvSpPr>
          <p:nvPr>
            <p:ph type="body" sz="quarter" idx="13"/>
          </p:nvPr>
        </p:nvSpPr>
        <p:spPr>
          <a:xfrm>
            <a:off x="704088" y="5661248"/>
            <a:ext cx="11461750" cy="416831"/>
          </a:xfrm>
          <a:prstGeom prst="rect">
            <a:avLst/>
          </a:prstGeom>
        </p:spPr>
        <p:txBody>
          <a:bodyPr anchor="b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Trebuchet MS" panose="020B0603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  <a:defRPr/>
            </a:pPr>
            <a:endParaRPr lang="en-GB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0" indent="0" algn="r">
              <a:spcBef>
                <a:spcPts val="0"/>
              </a:spcBef>
              <a:buNone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Jurgens EM, et al. </a:t>
            </a:r>
            <a:r>
              <a:rPr lang="en-US" sz="1000" b="0" i="0" dirty="0">
                <a:effectLst/>
              </a:rPr>
              <a:t>J Clin Oncol 2025;43:498-504.</a:t>
            </a:r>
            <a:endParaRPr lang="en-GB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5" name="Εικόνα 4">
            <a:extLst>
              <a:ext uri="{FF2B5EF4-FFF2-40B4-BE49-F238E27FC236}">
                <a16:creationId xmlns:a16="http://schemas.microsoft.com/office/drawing/2014/main" id="{050CB418-CF74-2BBA-EEBF-05BF9D3EA0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08379" y="1129380"/>
            <a:ext cx="7785365" cy="562684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892D451-50E5-25F4-D988-044C64C86DD8}"/>
              </a:ext>
            </a:extLst>
          </p:cNvPr>
          <p:cNvSpPr txBox="1"/>
          <p:nvPr/>
        </p:nvSpPr>
        <p:spPr>
          <a:xfrm>
            <a:off x="9593744" y="6505075"/>
            <a:ext cx="25927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Thanos C Dimopoulos, MD</a:t>
            </a:r>
          </a:p>
        </p:txBody>
      </p:sp>
    </p:spTree>
    <p:extLst>
      <p:ext uri="{BB962C8B-B14F-4D97-AF65-F5344CB8AC3E}">
        <p14:creationId xmlns:p14="http://schemas.microsoft.com/office/powerpoint/2010/main" val="1646229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55FA5D24-D0CC-BA72-D702-F8371F65F0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12831BC1-6492-B384-97AA-A9ECD3E5C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779" y="101776"/>
            <a:ext cx="11460480" cy="914400"/>
          </a:xfrm>
        </p:spPr>
        <p:txBody>
          <a:bodyPr/>
          <a:lstStyle/>
          <a:p>
            <a:r>
              <a:rPr lang="en-US" i="0" dirty="0">
                <a:solidFill>
                  <a:srgbClr val="C00000"/>
                </a:solidFill>
                <a:effectLst/>
              </a:rPr>
              <a:t>Phase I Trial of MCARH109 in RRMM: Efficacy Data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1F080F2-90D0-69A8-7739-06E420B33CD5}"/>
              </a:ext>
            </a:extLst>
          </p:cNvPr>
          <p:cNvSpPr txBox="1">
            <a:spLocks noGrp="1"/>
          </p:cNvSpPr>
          <p:nvPr>
            <p:ph type="body" sz="quarter" idx="13"/>
          </p:nvPr>
        </p:nvSpPr>
        <p:spPr>
          <a:xfrm>
            <a:off x="579705" y="6207049"/>
            <a:ext cx="11461750" cy="416831"/>
          </a:xfrm>
          <a:prstGeom prst="rect">
            <a:avLst/>
          </a:prstGeom>
        </p:spPr>
        <p:txBody>
          <a:bodyPr anchor="b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Trebuchet MS" panose="020B0603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Trebuchet MS" panose="020B0603020202020204" pitchFamily="34" charset="0"/>
              <a:buChar char="—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  <a:defRPr/>
            </a:pPr>
            <a:endParaRPr lang="en-GB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0" indent="0" algn="r">
              <a:spcBef>
                <a:spcPts val="0"/>
              </a:spcBef>
              <a:buNone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Jurgens EM, et al. </a:t>
            </a:r>
            <a:r>
              <a:rPr lang="en-US" sz="1000" b="0" i="0" dirty="0">
                <a:effectLst/>
              </a:rPr>
              <a:t>J Clin Oncol 2025;43:498-504.</a:t>
            </a:r>
            <a:endParaRPr lang="en-GB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3" name="Εικόνα 2">
            <a:extLst>
              <a:ext uri="{FF2B5EF4-FFF2-40B4-BE49-F238E27FC236}">
                <a16:creationId xmlns:a16="http://schemas.microsoft.com/office/drawing/2014/main" id="{4B215600-8278-0117-BF51-B99948C431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r="40026"/>
          <a:stretch/>
        </p:blipFill>
        <p:spPr>
          <a:xfrm>
            <a:off x="7032464" y="650951"/>
            <a:ext cx="4608475" cy="5658370"/>
          </a:xfrm>
          <a:prstGeom prst="rect">
            <a:avLst/>
          </a:prstGeom>
        </p:spPr>
      </p:pic>
      <p:graphicFrame>
        <p:nvGraphicFramePr>
          <p:cNvPr id="12" name="Πίνακας 11">
            <a:extLst>
              <a:ext uri="{FF2B5EF4-FFF2-40B4-BE49-F238E27FC236}">
                <a16:creationId xmlns:a16="http://schemas.microsoft.com/office/drawing/2014/main" id="{C4BBE102-6CA0-E12E-016B-7C0966693CCE}"/>
              </a:ext>
            </a:extLst>
          </p:cNvPr>
          <p:cNvGraphicFramePr>
            <a:graphicFrameLocks noGrp="1"/>
          </p:cNvGraphicFramePr>
          <p:nvPr/>
        </p:nvGraphicFramePr>
        <p:xfrm>
          <a:off x="188779" y="650950"/>
          <a:ext cx="6402940" cy="6078807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2474035">
                  <a:extLst>
                    <a:ext uri="{9D8B030D-6E8A-4147-A177-3AD203B41FA5}">
                      <a16:colId xmlns:a16="http://schemas.microsoft.com/office/drawing/2014/main" val="1618326444"/>
                    </a:ext>
                  </a:extLst>
                </a:gridCol>
                <a:gridCol w="1406769">
                  <a:extLst>
                    <a:ext uri="{9D8B030D-6E8A-4147-A177-3AD203B41FA5}">
                      <a16:colId xmlns:a16="http://schemas.microsoft.com/office/drawing/2014/main" val="2474962256"/>
                    </a:ext>
                  </a:extLst>
                </a:gridCol>
                <a:gridCol w="1316334">
                  <a:extLst>
                    <a:ext uri="{9D8B030D-6E8A-4147-A177-3AD203B41FA5}">
                      <a16:colId xmlns:a16="http://schemas.microsoft.com/office/drawing/2014/main" val="3854294525"/>
                    </a:ext>
                  </a:extLst>
                </a:gridCol>
                <a:gridCol w="1205802">
                  <a:extLst>
                    <a:ext uri="{9D8B030D-6E8A-4147-A177-3AD203B41FA5}">
                      <a16:colId xmlns:a16="http://schemas.microsoft.com/office/drawing/2014/main" val="211806590"/>
                    </a:ext>
                  </a:extLst>
                </a:gridCol>
              </a:tblGrid>
              <a:tr h="424781">
                <a:tc>
                  <a:txBody>
                    <a:bodyPr/>
                    <a:lstStyle/>
                    <a:p>
                      <a:pPr algn="ctr"/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</a:rPr>
                        <a:t>Characteristic</a:t>
                      </a:r>
                    </a:p>
                  </a:txBody>
                  <a:tcPr marL="20820" marR="20820" marT="10410" marB="1041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</a:rPr>
                        <a:t>No Previous BCMA Therapy (n = 7)</a:t>
                      </a:r>
                    </a:p>
                  </a:txBody>
                  <a:tcPr marL="20820" marR="20820" marT="10410" marB="1041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</a:rPr>
                        <a:t>Previous BCMA Therapy (n = 10)</a:t>
                      </a:r>
                    </a:p>
                  </a:txBody>
                  <a:tcPr marL="20820" marR="20820" marT="10410" marB="1041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</a:rPr>
                        <a:t>Overall (N = 17)</a:t>
                      </a:r>
                    </a:p>
                  </a:txBody>
                  <a:tcPr marL="20820" marR="20820" marT="10410" marB="10410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374071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 dirty="0">
                          <a:effectLst/>
                        </a:rPr>
                        <a:t>Age, years Median (range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57.9 (37.6-76.4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63.8 (39.6-73.5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59.6 (37.6-76.4)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1961968304"/>
                  </a:ext>
                </a:extLst>
              </a:tr>
              <a:tr h="223307">
                <a:tc>
                  <a:txBody>
                    <a:bodyPr/>
                    <a:lstStyle/>
                    <a:p>
                      <a:pPr algn="l"/>
                      <a:r>
                        <a:rPr lang="en-GB" sz="1400" b="0" dirty="0">
                          <a:effectLst/>
                        </a:rPr>
                        <a:t>High-risk cytogenetics, No. (%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8526761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Yes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5 (71.4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8 (80.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13 (76.5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688893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No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2 (28.6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2 (20.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4 (23.5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941659"/>
                  </a:ext>
                </a:extLst>
              </a:tr>
              <a:tr h="42478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Extramedullary plasmacytoma, No. (%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1997956695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Yes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4 (57.1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4 (40.0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8 (47.1)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1835834394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No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3 (42.9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6 (60.0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9 (52.9)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1791409832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Previous lines of therapy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7375771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Median (range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5.0 (4.0-8.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6.50 (5.00-14.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6.00 (4.00-14.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7175307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Penta-exposed, No. (%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359040915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Yes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7 (100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10 (100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17 (100)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2660082041"/>
                  </a:ext>
                </a:extLst>
              </a:tr>
              <a:tr h="223307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Triple-refractory disease, No. (%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4074192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Yes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7 (10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9 (90.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16 (94.1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3584172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No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0 (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1 (10.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1 (5.9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3579960"/>
                  </a:ext>
                </a:extLst>
              </a:tr>
              <a:tr h="265947"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>
                          <a:effectLst/>
                        </a:rPr>
                        <a:t>Previous bispecific antibody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3933015864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Yes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0 (0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2(20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2 (11.8)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4064900788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No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7 (100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8(80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15 (88.2)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2601726018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Bridging therapy, No. (%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8880280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Yes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7 (10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9 (90.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16 (94.1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1060811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No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0 (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1 (10.0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1 (5.9)</a:t>
                      </a:r>
                    </a:p>
                  </a:txBody>
                  <a:tcPr marL="20820" marR="20820" marT="10410" marB="10410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822186"/>
                  </a:ext>
                </a:extLst>
              </a:tr>
              <a:tr h="223307"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>
                          <a:effectLst/>
                        </a:rPr>
                        <a:t>Responsive to bridging therapy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 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3197260954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Yes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0/7 (0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1/9 (11.1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1/16 (6.3)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58403843"/>
                  </a:ext>
                </a:extLst>
              </a:tr>
              <a:tr h="222271">
                <a:tc>
                  <a:txBody>
                    <a:bodyPr/>
                    <a:lstStyle/>
                    <a:p>
                      <a:pPr algn="l"/>
                      <a:r>
                        <a:rPr lang="en-GB" sz="1400" b="0">
                          <a:effectLst/>
                        </a:rPr>
                        <a:t> No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7/7 (100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>
                          <a:effectLst/>
                        </a:rPr>
                        <a:t>8/9 (88.9)</a:t>
                      </a:r>
                    </a:p>
                  </a:txBody>
                  <a:tcPr marL="20820" marR="20820" marT="10410" marB="10410"/>
                </a:tc>
                <a:tc>
                  <a:txBody>
                    <a:bodyPr/>
                    <a:lstStyle/>
                    <a:p>
                      <a:pPr algn="l"/>
                      <a:r>
                        <a:rPr lang="el-GR" sz="1400" b="0" dirty="0">
                          <a:effectLst/>
                        </a:rPr>
                        <a:t>15/16 (93.7)</a:t>
                      </a:r>
                    </a:p>
                  </a:txBody>
                  <a:tcPr marL="20820" marR="20820" marT="10410" marB="10410"/>
                </a:tc>
                <a:extLst>
                  <a:ext uri="{0D108BD9-81ED-4DB2-BD59-A6C34878D82A}">
                    <a16:rowId xmlns:a16="http://schemas.microsoft.com/office/drawing/2014/main" val="3746366003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DCCF9984-FFB0-89B3-8CE2-2C642849BF97}"/>
              </a:ext>
            </a:extLst>
          </p:cNvPr>
          <p:cNvSpPr txBox="1"/>
          <p:nvPr/>
        </p:nvSpPr>
        <p:spPr>
          <a:xfrm>
            <a:off x="9078318" y="6505599"/>
            <a:ext cx="29943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Thanos C Dimopoulos, MD</a:t>
            </a:r>
          </a:p>
        </p:txBody>
      </p:sp>
    </p:spTree>
    <p:extLst>
      <p:ext uri="{BB962C8B-B14F-4D97-AF65-F5344CB8AC3E}">
        <p14:creationId xmlns:p14="http://schemas.microsoft.com/office/powerpoint/2010/main" val="1906620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327E56-48AB-007D-47A8-C291DB30A9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1568B82-2B5F-D2D2-CABC-78A6AAFCDC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620689"/>
            <a:ext cx="10358967" cy="5400600"/>
          </a:xfrm>
        </p:spPr>
        <p:txBody>
          <a:bodyPr anchor="ctr"/>
          <a:lstStyle/>
          <a:p>
            <a:pPr marL="98425" indent="0" algn="ctr">
              <a:buNone/>
            </a:pPr>
            <a:r>
              <a:rPr lang="en-US" sz="4000" dirty="0"/>
              <a:t>Is there a role for a second dose of CAR T-cell therapy, either as a consolidation of the first dose or in the form of maintenance given several months apart?</a:t>
            </a:r>
          </a:p>
        </p:txBody>
      </p:sp>
    </p:spTree>
    <p:extLst>
      <p:ext uri="{BB962C8B-B14F-4D97-AF65-F5344CB8AC3E}">
        <p14:creationId xmlns:p14="http://schemas.microsoft.com/office/powerpoint/2010/main" val="3055679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71E7CF-210A-3F1C-3BD9-9863F4608E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865FFE-4CB0-D38F-10DF-6F01586F4C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620689"/>
            <a:ext cx="10358967" cy="5400600"/>
          </a:xfrm>
        </p:spPr>
        <p:txBody>
          <a:bodyPr anchor="ctr"/>
          <a:lstStyle/>
          <a:p>
            <a:pPr marL="98425" indent="0" algn="ctr">
              <a:buNone/>
            </a:pPr>
            <a:r>
              <a:rPr lang="en-US" sz="4000" dirty="0"/>
              <a:t>How would you compare the efficacy of </a:t>
            </a:r>
            <a:r>
              <a:rPr lang="en-US" sz="4000" dirty="0" err="1"/>
              <a:t>anitocabtagene</a:t>
            </a:r>
            <a:r>
              <a:rPr lang="en-US" sz="4000" dirty="0"/>
              <a:t> </a:t>
            </a:r>
            <a:r>
              <a:rPr lang="en-US" sz="4000" dirty="0" err="1"/>
              <a:t>autoleucel</a:t>
            </a:r>
            <a:r>
              <a:rPr lang="en-US" sz="4000" dirty="0"/>
              <a:t> (anito-cel) CAR T-cell therapy to </a:t>
            </a:r>
            <a:r>
              <a:rPr lang="en-US" sz="4000" dirty="0" err="1"/>
              <a:t>ciltacabtagene</a:t>
            </a:r>
            <a:r>
              <a:rPr lang="en-US" sz="4000" dirty="0"/>
              <a:t> </a:t>
            </a:r>
            <a:r>
              <a:rPr lang="en-US" sz="4000" dirty="0" err="1"/>
              <a:t>autoleucel</a:t>
            </a:r>
            <a:r>
              <a:rPr lang="en-US" sz="4000" dirty="0"/>
              <a:t> (</a:t>
            </a:r>
            <a:r>
              <a:rPr lang="en-US" sz="4000" dirty="0" err="1"/>
              <a:t>cilta</a:t>
            </a:r>
            <a:r>
              <a:rPr lang="en-US" sz="4000" dirty="0"/>
              <a:t>-cel) and </a:t>
            </a:r>
            <a:r>
              <a:rPr lang="en-US" sz="4000" dirty="0" err="1"/>
              <a:t>idecabtagene</a:t>
            </a:r>
            <a:r>
              <a:rPr lang="en-US" sz="4000" dirty="0"/>
              <a:t> </a:t>
            </a:r>
            <a:r>
              <a:rPr lang="en-US" sz="4000" dirty="0" err="1"/>
              <a:t>vicleucel</a:t>
            </a:r>
            <a:r>
              <a:rPr lang="en-US" sz="4000" dirty="0"/>
              <a:t> (ide-cel)?</a:t>
            </a:r>
          </a:p>
        </p:txBody>
      </p:sp>
    </p:spTree>
    <p:extLst>
      <p:ext uri="{BB962C8B-B14F-4D97-AF65-F5344CB8AC3E}">
        <p14:creationId xmlns:p14="http://schemas.microsoft.com/office/powerpoint/2010/main" val="2048452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B95B46-91D7-BF79-4F64-130D6E764E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EEDA3CF-210F-08CD-76D1-21F90A6BC0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811" y="728700"/>
            <a:ext cx="11160378" cy="5400600"/>
          </a:xfrm>
        </p:spPr>
        <p:txBody>
          <a:bodyPr anchor="ctr"/>
          <a:lstStyle/>
          <a:p>
            <a:pPr marL="98425" indent="0" algn="ctr">
              <a:buNone/>
            </a:pPr>
            <a:r>
              <a:rPr lang="en-US" sz="4000" dirty="0"/>
              <a:t>How would you compare the toxicity of </a:t>
            </a:r>
            <a:br>
              <a:rPr lang="en-US" sz="4000" dirty="0"/>
            </a:br>
            <a:r>
              <a:rPr lang="en-US" sz="4000" dirty="0"/>
              <a:t>anito-cel CAR T-cell therapy to </a:t>
            </a:r>
            <a:r>
              <a:rPr lang="en-US" sz="4000" dirty="0" err="1"/>
              <a:t>cilta</a:t>
            </a:r>
            <a:r>
              <a:rPr lang="en-US" sz="4000" dirty="0"/>
              <a:t>-cel and ide-cel?</a:t>
            </a:r>
          </a:p>
        </p:txBody>
      </p:sp>
    </p:spTree>
    <p:extLst>
      <p:ext uri="{BB962C8B-B14F-4D97-AF65-F5344CB8AC3E}">
        <p14:creationId xmlns:p14="http://schemas.microsoft.com/office/powerpoint/2010/main" val="1515955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BA2242-D0D6-948A-57AB-3B6574DC17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0C883F9-B87C-2E2F-C61D-3EE49B4B5195}"/>
              </a:ext>
            </a:extLst>
          </p:cNvPr>
          <p:cNvSpPr/>
          <p:nvPr/>
        </p:nvSpPr>
        <p:spPr bwMode="auto">
          <a:xfrm>
            <a:off x="407368" y="4581128"/>
            <a:ext cx="11449272" cy="576064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7EFE59-0CF1-B75C-6060-BA48A5A38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51" y="332656"/>
            <a:ext cx="1015269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br>
              <a:rPr lang="en-US" dirty="0"/>
            </a:br>
            <a:br>
              <a:rPr lang="en-US" sz="1200" dirty="0"/>
            </a:br>
            <a:r>
              <a:rPr lang="en-US" dirty="0"/>
              <a:t>Year in Review: Management of Multiple Myeloma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080F32-D4CE-F55D-6948-D0CECB5E2A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9533" y="1988840"/>
            <a:ext cx="9774980" cy="2736304"/>
          </a:xfrm>
        </p:spPr>
        <p:txBody>
          <a:bodyPr/>
          <a:lstStyle/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CO 2025 Preview</a:t>
            </a:r>
            <a:endParaRPr lang="en-US" sz="2400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1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ti-CD38 Antibodies</a:t>
            </a:r>
            <a:endParaRPr lang="en-US" sz="2400" b="1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2: </a:t>
            </a:r>
            <a:r>
              <a:rPr lang="en-US" sz="2400" b="1" kern="0" dirty="0" err="1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Belantamab</a:t>
            </a:r>
            <a:r>
              <a:rPr lang="en-US" sz="2400" b="1" kern="0" dirty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1" kern="0" dirty="0" err="1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Mafodotin</a:t>
            </a:r>
            <a:endParaRPr lang="en-US" sz="2400" b="1" kern="0" dirty="0">
              <a:solidFill>
                <a:srgbClr val="212121"/>
              </a:solidFill>
              <a:effectLst/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3: </a:t>
            </a:r>
            <a:r>
              <a:rPr lang="en-US" sz="240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CAR T-Cell Therapy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chemeClr val="bg1"/>
                </a:solidFill>
              </a:rPr>
              <a:t>MODULE 4: </a:t>
            </a:r>
            <a:r>
              <a:rPr lang="en-US" sz="2400" b="1" kern="0" dirty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Bispecific Antibodies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5: </a:t>
            </a:r>
            <a:r>
              <a:rPr lang="en-US" sz="240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Other</a:t>
            </a:r>
            <a:r>
              <a:rPr lang="en-US" sz="2400" dirty="0">
                <a:solidFill>
                  <a:srgbClr val="3233FF"/>
                </a:solidFill>
              </a:rPr>
              <a:t> </a:t>
            </a:r>
            <a:r>
              <a:rPr lang="en-US" sz="2400" b="1" kern="0" dirty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Novel Agents</a:t>
            </a:r>
          </a:p>
        </p:txBody>
      </p:sp>
    </p:spTree>
    <p:extLst>
      <p:ext uri="{BB962C8B-B14F-4D97-AF65-F5344CB8AC3E}">
        <p14:creationId xmlns:p14="http://schemas.microsoft.com/office/powerpoint/2010/main" val="3561961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F225B5-DDBB-F04C-87FC-4A699DA270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03512" y="2060848"/>
            <a:ext cx="9072146" cy="2444995"/>
          </a:xfrm>
          <a:solidFill>
            <a:srgbClr val="E9F8FD"/>
          </a:solidFill>
          <a:ln>
            <a:solidFill>
              <a:schemeClr val="tx2">
                <a:lumMod val="50000"/>
                <a:lumOff val="50000"/>
              </a:schemeClr>
            </a:solidFill>
          </a:ln>
        </p:spPr>
        <p:txBody>
          <a:bodyPr lIns="365760" rIns="365760" anchor="ctr"/>
          <a:lstStyle/>
          <a:p>
            <a:pPr marL="98425" indent="0">
              <a:lnSpc>
                <a:spcPct val="100000"/>
              </a:lnSpc>
              <a:buNone/>
            </a:pPr>
            <a:r>
              <a:rPr lang="en-US" sz="3200" dirty="0"/>
              <a:t>This educational activity contains discussion of </a:t>
            </a:r>
            <a:br>
              <a:rPr lang="en-US" sz="3200" dirty="0"/>
            </a:br>
            <a:r>
              <a:rPr lang="en-US" sz="3200" dirty="0"/>
              <a:t>non-FDA-approved uses of agents and regimens. Please refer to official prescribing information for each product for approved indications. </a:t>
            </a:r>
          </a:p>
        </p:txBody>
      </p:sp>
    </p:spTree>
    <p:extLst>
      <p:ext uri="{BB962C8B-B14F-4D97-AF65-F5344CB8AC3E}">
        <p14:creationId xmlns:p14="http://schemas.microsoft.com/office/powerpoint/2010/main" val="2285533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2F02A7-5493-6F35-3839-87B1A9F43F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206" y="194449"/>
            <a:ext cx="11535684" cy="1103313"/>
          </a:xfrm>
        </p:spPr>
        <p:txBody>
          <a:bodyPr/>
          <a:lstStyle/>
          <a:p>
            <a:r>
              <a:rPr lang="en-US" sz="3200" dirty="0">
                <a:solidFill>
                  <a:srgbClr val="C00000"/>
                </a:solidFill>
              </a:rPr>
              <a:t>Phase </a:t>
            </a:r>
            <a:r>
              <a:rPr lang="en-US" sz="3200" dirty="0" err="1">
                <a:solidFill>
                  <a:srgbClr val="C00000"/>
                </a:solidFill>
              </a:rPr>
              <a:t>Ib</a:t>
            </a:r>
            <a:r>
              <a:rPr lang="en-US" sz="3200" dirty="0">
                <a:solidFill>
                  <a:srgbClr val="C00000"/>
                </a:solidFill>
              </a:rPr>
              <a:t>/II RedirecTT-1 Study: </a:t>
            </a:r>
            <a:r>
              <a:rPr lang="en-US" sz="3200" dirty="0" err="1">
                <a:solidFill>
                  <a:srgbClr val="C00000"/>
                </a:solidFill>
              </a:rPr>
              <a:t>Teclistamab</a:t>
            </a:r>
            <a:r>
              <a:rPr lang="en-US" sz="3200" dirty="0">
                <a:solidFill>
                  <a:srgbClr val="C00000"/>
                </a:solidFill>
              </a:rPr>
              <a:t> Plus </a:t>
            </a:r>
            <a:r>
              <a:rPr lang="en-US" sz="3200" dirty="0" err="1">
                <a:solidFill>
                  <a:srgbClr val="C00000"/>
                </a:solidFill>
              </a:rPr>
              <a:t>Talquetamab</a:t>
            </a:r>
            <a:r>
              <a:rPr lang="en-US" sz="3200" dirty="0">
                <a:solidFill>
                  <a:srgbClr val="C00000"/>
                </a:solidFill>
              </a:rPr>
              <a:t> in R/R Multiple Myelom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670B13-271A-5D1C-549B-CC6BA9CE82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8356" y="1586265"/>
            <a:ext cx="4293837" cy="465068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b="0" i="0" dirty="0">
                <a:solidFill>
                  <a:srgbClr val="1D1C1D"/>
                </a:solidFill>
                <a:effectLst/>
                <a:latin typeface="Slack-Lato"/>
              </a:rPr>
              <a:t>A Phase 1b/2 Dose Escalation and Expansion Study of the Combination of the Bispecific T Cell Redirection Antibodies </a:t>
            </a:r>
            <a:r>
              <a:rPr lang="en-US" sz="1600" b="0" i="0" dirty="0" err="1">
                <a:solidFill>
                  <a:srgbClr val="1D1C1D"/>
                </a:solidFill>
                <a:effectLst/>
                <a:latin typeface="Slack-Lato"/>
              </a:rPr>
              <a:t>Talquetamab</a:t>
            </a:r>
            <a:r>
              <a:rPr lang="en-US" sz="1600" b="0" i="0" dirty="0">
                <a:solidFill>
                  <a:srgbClr val="1D1C1D"/>
                </a:solidFill>
                <a:effectLst/>
                <a:latin typeface="Slack-Lato"/>
              </a:rPr>
              <a:t> and </a:t>
            </a:r>
            <a:r>
              <a:rPr lang="en-US" sz="1600" b="0" i="0" dirty="0" err="1">
                <a:solidFill>
                  <a:srgbClr val="1D1C1D"/>
                </a:solidFill>
                <a:effectLst/>
                <a:latin typeface="Slack-Lato"/>
              </a:rPr>
              <a:t>Teclistamab</a:t>
            </a:r>
            <a:r>
              <a:rPr lang="en-US" sz="1600" b="0" i="0" dirty="0">
                <a:solidFill>
                  <a:srgbClr val="1D1C1D"/>
                </a:solidFill>
                <a:effectLst/>
                <a:latin typeface="Slack-Lato"/>
              </a:rPr>
              <a:t> in Participants With Relapsed or Refractory Multiple Myeloma</a:t>
            </a:r>
            <a:endParaRPr lang="en-US" sz="1600" dirty="0">
              <a:highlight>
                <a:srgbClr val="FFFF00"/>
              </a:highlight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400" dirty="0"/>
              <a:t>Previous exposure to a PI, </a:t>
            </a:r>
            <a:r>
              <a:rPr lang="en-US" sz="1400" dirty="0" err="1"/>
              <a:t>IMiD</a:t>
            </a:r>
            <a:r>
              <a:rPr lang="en-US" sz="1400" dirty="0"/>
              <a:t>, and anti-CD38 </a:t>
            </a:r>
            <a:r>
              <a:rPr lang="en-US" sz="1400" dirty="0" err="1"/>
              <a:t>mAb</a:t>
            </a:r>
            <a:r>
              <a:rPr lang="en-US" sz="1400" dirty="0"/>
              <a:t> and refractory to last line of therapy</a:t>
            </a:r>
          </a:p>
          <a:p>
            <a:pPr lvl="1">
              <a:spcBef>
                <a:spcPts val="0"/>
              </a:spcBef>
            </a:pPr>
            <a:r>
              <a:rPr lang="en-US" sz="1400" dirty="0"/>
              <a:t>Median prior LOT: 4 (1-11); extramedullary plasmacytomas: 37.6%</a:t>
            </a:r>
          </a:p>
          <a:p>
            <a:pPr>
              <a:spcBef>
                <a:spcPts val="0"/>
              </a:spcBef>
            </a:pPr>
            <a:r>
              <a:rPr lang="en-US" sz="2000" b="1" dirty="0"/>
              <a:t>Primary endpoint: </a:t>
            </a:r>
            <a:r>
              <a:rPr lang="en-US" sz="2000" dirty="0"/>
              <a:t>dose-limiting toxic effects; </a:t>
            </a:r>
          </a:p>
          <a:p>
            <a:pPr>
              <a:spcBef>
                <a:spcPts val="0"/>
              </a:spcBef>
            </a:pPr>
            <a:r>
              <a:rPr lang="en-US" sz="2000" b="1" dirty="0"/>
              <a:t>Secondary endpoints:</a:t>
            </a:r>
            <a:r>
              <a:rPr lang="en-US" sz="2000" dirty="0"/>
              <a:t> overall response (partial response or better), </a:t>
            </a:r>
            <a:r>
              <a:rPr lang="en-US" sz="2000" dirty="0" err="1"/>
              <a:t>dor</a:t>
            </a:r>
            <a:r>
              <a:rPr lang="en-US" sz="2000" dirty="0"/>
              <a:t>, time to response, pharmacokinetics, pharmacodynamics, and immunogenicity.</a:t>
            </a:r>
          </a:p>
        </p:txBody>
      </p:sp>
      <p:grpSp>
        <p:nvGrpSpPr>
          <p:cNvPr id="69" name="Group 8">
            <a:extLst>
              <a:ext uri="{FF2B5EF4-FFF2-40B4-BE49-F238E27FC236}">
                <a16:creationId xmlns:a16="http://schemas.microsoft.com/office/drawing/2014/main" id="{F821E16C-8942-0E59-CD56-09DB6C01182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52288" y="1436145"/>
            <a:ext cx="7121049" cy="4472285"/>
            <a:chOff x="3115" y="892"/>
            <a:chExt cx="3745" cy="2352"/>
          </a:xfrm>
        </p:grpSpPr>
        <p:sp>
          <p:nvSpPr>
            <p:cNvPr id="70" name="AutoShape 7">
              <a:extLst>
                <a:ext uri="{FF2B5EF4-FFF2-40B4-BE49-F238E27FC236}">
                  <a16:creationId xmlns:a16="http://schemas.microsoft.com/office/drawing/2014/main" id="{B6174E6F-9E79-5F35-70E4-7115505E503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220" y="892"/>
              <a:ext cx="3640" cy="2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5129" name="Picture 9">
              <a:extLst>
                <a:ext uri="{FF2B5EF4-FFF2-40B4-BE49-F238E27FC236}">
                  <a16:creationId xmlns:a16="http://schemas.microsoft.com/office/drawing/2014/main" id="{50F32A22-79CB-8F10-1032-F95786C4136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071" b="3335"/>
            <a:stretch/>
          </p:blipFill>
          <p:spPr bwMode="auto">
            <a:xfrm>
              <a:off x="3115" y="892"/>
              <a:ext cx="3640" cy="2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495480E9-3F51-B59C-C719-8E3AB8E8CE72}"/>
              </a:ext>
            </a:extLst>
          </p:cNvPr>
          <p:cNvSpPr txBox="1"/>
          <p:nvPr/>
        </p:nvSpPr>
        <p:spPr bwMode="auto">
          <a:xfrm>
            <a:off x="6057482" y="6611779"/>
            <a:ext cx="613451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hen YC, et al. N Engl J Med 2025;392:138-49.</a:t>
            </a:r>
            <a:endParaRPr kumimoji="0" lang="el-GR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2B8F131-B8B8-8AED-6AE8-FD77D1C1D53C}"/>
              </a:ext>
            </a:extLst>
          </p:cNvPr>
          <p:cNvSpPr txBox="1"/>
          <p:nvPr/>
        </p:nvSpPr>
        <p:spPr>
          <a:xfrm>
            <a:off x="144966" y="6490010"/>
            <a:ext cx="33927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Thanos C Dimopoulos, MD</a:t>
            </a:r>
          </a:p>
        </p:txBody>
      </p:sp>
    </p:spTree>
    <p:extLst>
      <p:ext uri="{BB962C8B-B14F-4D97-AF65-F5344CB8AC3E}">
        <p14:creationId xmlns:p14="http://schemas.microsoft.com/office/powerpoint/2010/main" val="280999587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179A84B-4C1B-1986-1869-4BA7AC6EBC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1B88C4-6D5A-0EB7-444A-7ED54F5F08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196" y="26564"/>
            <a:ext cx="12114804" cy="1103313"/>
          </a:xfrm>
        </p:spPr>
        <p:txBody>
          <a:bodyPr/>
          <a:lstStyle/>
          <a:p>
            <a:r>
              <a:rPr lang="en-US" sz="3200" dirty="0">
                <a:solidFill>
                  <a:srgbClr val="C00000"/>
                </a:solidFill>
              </a:rPr>
              <a:t>Phase </a:t>
            </a:r>
            <a:r>
              <a:rPr lang="en-US" sz="3200" dirty="0" err="1">
                <a:solidFill>
                  <a:srgbClr val="C00000"/>
                </a:solidFill>
              </a:rPr>
              <a:t>Ib</a:t>
            </a:r>
            <a:r>
              <a:rPr lang="en-US" sz="3200" dirty="0">
                <a:solidFill>
                  <a:srgbClr val="C00000"/>
                </a:solidFill>
              </a:rPr>
              <a:t>/II RedirectTT-1 Study: </a:t>
            </a:r>
            <a:r>
              <a:rPr lang="en-US" sz="3200" dirty="0" err="1">
                <a:solidFill>
                  <a:srgbClr val="C00000"/>
                </a:solidFill>
              </a:rPr>
              <a:t>Teclistamab</a:t>
            </a:r>
            <a:r>
              <a:rPr lang="en-US" sz="3200" dirty="0">
                <a:solidFill>
                  <a:srgbClr val="C00000"/>
                </a:solidFill>
              </a:rPr>
              <a:t> Plus </a:t>
            </a:r>
            <a:r>
              <a:rPr lang="en-US" sz="3200" dirty="0" err="1">
                <a:solidFill>
                  <a:srgbClr val="C00000"/>
                </a:solidFill>
              </a:rPr>
              <a:t>Talquetamab</a:t>
            </a:r>
            <a:r>
              <a:rPr lang="en-US" sz="3200" dirty="0">
                <a:solidFill>
                  <a:srgbClr val="C00000"/>
                </a:solidFill>
              </a:rPr>
              <a:t> in R/R Multiple Myeloma – </a:t>
            </a:r>
            <a:r>
              <a:rPr lang="en-US" sz="3200" dirty="0" err="1">
                <a:solidFill>
                  <a:srgbClr val="C00000"/>
                </a:solidFill>
              </a:rPr>
              <a:t>DoR</a:t>
            </a:r>
            <a:r>
              <a:rPr lang="en-US" sz="3200" dirty="0">
                <a:solidFill>
                  <a:srgbClr val="C00000"/>
                </a:solidFill>
              </a:rPr>
              <a:t> and PFS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68A88EB7-868B-C01A-5DFE-0CC9CB819C9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74320" y="1553871"/>
            <a:ext cx="4927395" cy="4599859"/>
            <a:chOff x="97" y="761"/>
            <a:chExt cx="2061" cy="1924"/>
          </a:xfrm>
        </p:grpSpPr>
        <p:sp>
          <p:nvSpPr>
            <p:cNvPr id="10" name="AutoShape 3">
              <a:extLst>
                <a:ext uri="{FF2B5EF4-FFF2-40B4-BE49-F238E27FC236}">
                  <a16:creationId xmlns:a16="http://schemas.microsoft.com/office/drawing/2014/main" id="{5DF25D20-384B-B6F3-3CB0-97030338A79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7" y="761"/>
              <a:ext cx="2061" cy="19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6149" name="Picture 5">
              <a:extLst>
                <a:ext uri="{FF2B5EF4-FFF2-40B4-BE49-F238E27FC236}">
                  <a16:creationId xmlns:a16="http://schemas.microsoft.com/office/drawing/2014/main" id="{8DAF9996-C20B-0DBA-9B03-676AE3E23B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" y="761"/>
              <a:ext cx="2065" cy="19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589749B1-A99B-B030-08A0-10635DE5E78E}"/>
              </a:ext>
            </a:extLst>
          </p:cNvPr>
          <p:cNvSpPr txBox="1"/>
          <p:nvPr/>
        </p:nvSpPr>
        <p:spPr bwMode="auto">
          <a:xfrm>
            <a:off x="6057482" y="6611779"/>
            <a:ext cx="613451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hen YC, et al. N Engl J Med 2025;392:138-49.</a:t>
            </a:r>
            <a:endParaRPr kumimoji="0" lang="el-GR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07A824DC-9F48-7A87-E8D3-81C0E8D1A9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11278" y="1553871"/>
            <a:ext cx="5054600" cy="4633913"/>
            <a:chOff x="4000" y="1058"/>
            <a:chExt cx="3184" cy="2919"/>
          </a:xfrm>
        </p:grpSpPr>
        <p:sp>
          <p:nvSpPr>
            <p:cNvPr id="4" name="AutoShape 3">
              <a:extLst>
                <a:ext uri="{FF2B5EF4-FFF2-40B4-BE49-F238E27FC236}">
                  <a16:creationId xmlns:a16="http://schemas.microsoft.com/office/drawing/2014/main" id="{EA46A558-BA81-808F-8DC7-C868B3D1D5A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000" y="1058"/>
              <a:ext cx="3184" cy="29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7173" name="Picture 5">
              <a:extLst>
                <a:ext uri="{FF2B5EF4-FFF2-40B4-BE49-F238E27FC236}">
                  <a16:creationId xmlns:a16="http://schemas.microsoft.com/office/drawing/2014/main" id="{627AF27D-9DB6-ECAC-3077-EB0174C9C3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0" y="1058"/>
              <a:ext cx="3190" cy="2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oup 8">
            <a:extLst>
              <a:ext uri="{FF2B5EF4-FFF2-40B4-BE49-F238E27FC236}">
                <a16:creationId xmlns:a16="http://schemas.microsoft.com/office/drawing/2014/main" id="{45B8D072-6424-6C0F-39CD-5EF15793EF5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17075" y="798513"/>
            <a:ext cx="2497138" cy="1458912"/>
            <a:chOff x="6058" y="503"/>
            <a:chExt cx="1573" cy="919"/>
          </a:xfrm>
        </p:grpSpPr>
        <p:sp>
          <p:nvSpPr>
            <p:cNvPr id="12" name="AutoShape 7">
              <a:extLst>
                <a:ext uri="{FF2B5EF4-FFF2-40B4-BE49-F238E27FC236}">
                  <a16:creationId xmlns:a16="http://schemas.microsoft.com/office/drawing/2014/main" id="{1225B5F6-AEA2-3CDA-B8EE-C71D0EE643E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058" y="503"/>
              <a:ext cx="1573" cy="9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7177" name="Picture 9">
              <a:extLst>
                <a:ext uri="{FF2B5EF4-FFF2-40B4-BE49-F238E27FC236}">
                  <a16:creationId xmlns:a16="http://schemas.microsoft.com/office/drawing/2014/main" id="{57F555AF-78D9-FA19-E8C5-4EB2BD9301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58" y="503"/>
              <a:ext cx="1577" cy="9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6360EFBB-29D0-43F3-D359-4047DE06045F}"/>
              </a:ext>
            </a:extLst>
          </p:cNvPr>
          <p:cNvSpPr txBox="1"/>
          <p:nvPr/>
        </p:nvSpPr>
        <p:spPr>
          <a:xfrm>
            <a:off x="144966" y="6490010"/>
            <a:ext cx="33927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Thanos C Dimopoulos, MD</a:t>
            </a:r>
          </a:p>
        </p:txBody>
      </p:sp>
    </p:spTree>
    <p:extLst>
      <p:ext uri="{BB962C8B-B14F-4D97-AF65-F5344CB8AC3E}">
        <p14:creationId xmlns:p14="http://schemas.microsoft.com/office/powerpoint/2010/main" val="48414703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E03AF41-4E04-6925-13ED-E65E91956A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35FE5B-AFD8-6318-FDA1-A71A2D4F4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196" y="26564"/>
            <a:ext cx="12114804" cy="1103313"/>
          </a:xfrm>
        </p:spPr>
        <p:txBody>
          <a:bodyPr/>
          <a:lstStyle/>
          <a:p>
            <a:r>
              <a:rPr lang="en-US" sz="3200" dirty="0">
                <a:solidFill>
                  <a:srgbClr val="C00000"/>
                </a:solidFill>
              </a:rPr>
              <a:t>Phase </a:t>
            </a:r>
            <a:r>
              <a:rPr lang="en-US" sz="3200" dirty="0" err="1">
                <a:solidFill>
                  <a:srgbClr val="C00000"/>
                </a:solidFill>
              </a:rPr>
              <a:t>Ib</a:t>
            </a:r>
            <a:r>
              <a:rPr lang="en-US" sz="3200" dirty="0">
                <a:solidFill>
                  <a:srgbClr val="C00000"/>
                </a:solidFill>
              </a:rPr>
              <a:t>/II RedirectTT-1 Study: </a:t>
            </a:r>
            <a:r>
              <a:rPr lang="en-US" sz="3200" dirty="0" err="1">
                <a:solidFill>
                  <a:srgbClr val="C00000"/>
                </a:solidFill>
              </a:rPr>
              <a:t>Teclistamab</a:t>
            </a:r>
            <a:r>
              <a:rPr lang="en-US" sz="3200" dirty="0">
                <a:solidFill>
                  <a:srgbClr val="C00000"/>
                </a:solidFill>
              </a:rPr>
              <a:t> Plus </a:t>
            </a:r>
            <a:r>
              <a:rPr lang="en-US" sz="3200" dirty="0" err="1">
                <a:solidFill>
                  <a:srgbClr val="C00000"/>
                </a:solidFill>
              </a:rPr>
              <a:t>Talquetamab</a:t>
            </a:r>
            <a:r>
              <a:rPr lang="en-US" sz="3200" dirty="0">
                <a:solidFill>
                  <a:srgbClr val="C00000"/>
                </a:solidFill>
              </a:rPr>
              <a:t> in R/R Multiple Myeloma – Safet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733889-5F68-74B6-26C0-AF7BA789F7B6}"/>
              </a:ext>
            </a:extLst>
          </p:cNvPr>
          <p:cNvSpPr txBox="1"/>
          <p:nvPr/>
        </p:nvSpPr>
        <p:spPr bwMode="auto">
          <a:xfrm>
            <a:off x="6057482" y="6611779"/>
            <a:ext cx="613451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hen YC, et al. N Engl J Med 2025;392:138-49.</a:t>
            </a:r>
            <a:endParaRPr kumimoji="0" lang="el-GR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4" name="Group 8">
            <a:extLst>
              <a:ext uri="{FF2B5EF4-FFF2-40B4-BE49-F238E27FC236}">
                <a16:creationId xmlns:a16="http://schemas.microsoft.com/office/drawing/2014/main" id="{AD0DFD2F-E6C9-37C0-E932-0FD3AAD9D9F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49688" y="1182688"/>
            <a:ext cx="4416425" cy="5551487"/>
            <a:chOff x="2425" y="745"/>
            <a:chExt cx="2782" cy="3497"/>
          </a:xfrm>
        </p:grpSpPr>
        <p:sp>
          <p:nvSpPr>
            <p:cNvPr id="15" name="AutoShape 7">
              <a:extLst>
                <a:ext uri="{FF2B5EF4-FFF2-40B4-BE49-F238E27FC236}">
                  <a16:creationId xmlns:a16="http://schemas.microsoft.com/office/drawing/2014/main" id="{B58F3267-E029-5E7D-097C-E1E95531CB5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25" y="745"/>
              <a:ext cx="2782" cy="34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6153" name="Picture 9">
              <a:extLst>
                <a:ext uri="{FF2B5EF4-FFF2-40B4-BE49-F238E27FC236}">
                  <a16:creationId xmlns:a16="http://schemas.microsoft.com/office/drawing/2014/main" id="{1C38DE7A-7741-A6BF-84F5-70DFEBF266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25" y="745"/>
              <a:ext cx="2787" cy="3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E89166E0-E5C2-1CE9-449A-2164E05E64E7}"/>
              </a:ext>
            </a:extLst>
          </p:cNvPr>
          <p:cNvSpPr txBox="1"/>
          <p:nvPr/>
        </p:nvSpPr>
        <p:spPr>
          <a:xfrm>
            <a:off x="144966" y="6490010"/>
            <a:ext cx="33927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Thanos C Dimopoulos, MD</a:t>
            </a:r>
          </a:p>
        </p:txBody>
      </p:sp>
    </p:spTree>
    <p:extLst>
      <p:ext uri="{BB962C8B-B14F-4D97-AF65-F5344CB8AC3E}">
        <p14:creationId xmlns:p14="http://schemas.microsoft.com/office/powerpoint/2010/main" val="3043629654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F30D9F-EECB-2756-1433-747CF7B1A7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3903"/>
            <a:ext cx="10515600" cy="1325563"/>
          </a:xfrm>
        </p:spPr>
        <p:txBody>
          <a:bodyPr/>
          <a:lstStyle/>
          <a:p>
            <a:r>
              <a:rPr lang="en-US" altLang="en-US" sz="28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KER-MM1 Update: </a:t>
            </a:r>
            <a:r>
              <a:rPr lang="en-US" altLang="en-US" sz="2800" b="1" dirty="0" err="1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voseltamab</a:t>
            </a:r>
            <a:r>
              <a:rPr lang="en-US" altLang="en-US" sz="28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 RRMM - </a:t>
            </a:r>
            <a:r>
              <a:rPr lang="en-US" sz="28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dy Design</a:t>
            </a:r>
            <a:endParaRPr lang="en-US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Content Placeholder 4" descr="A screenshot of a medical chart&#10;&#10;AI-generated content may be incorrect.">
            <a:extLst>
              <a:ext uri="{FF2B5EF4-FFF2-40B4-BE49-F238E27FC236}">
                <a16:creationId xmlns:a16="http://schemas.microsoft.com/office/drawing/2014/main" id="{D3C890D7-8EE3-0302-0435-20574153FE4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824" y="1444466"/>
            <a:ext cx="11670252" cy="4438263"/>
          </a:xfrm>
        </p:spPr>
      </p:pic>
      <p:sp>
        <p:nvSpPr>
          <p:cNvPr id="6" name="Text Box 11">
            <a:extLst>
              <a:ext uri="{FF2B5EF4-FFF2-40B4-BE49-F238E27FC236}">
                <a16:creationId xmlns:a16="http://schemas.microsoft.com/office/drawing/2014/main" id="{BD46B977-DEA0-69DF-91FE-FADE4F8BC1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06881" y="6507876"/>
            <a:ext cx="273075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Shah MR, et al. ASH 2024;Abstract 3369.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A3FB39-F6CC-8A17-1A52-CA63EC4CC40A}"/>
              </a:ext>
            </a:extLst>
          </p:cNvPr>
          <p:cNvSpPr txBox="1"/>
          <p:nvPr/>
        </p:nvSpPr>
        <p:spPr>
          <a:xfrm>
            <a:off x="144966" y="6490010"/>
            <a:ext cx="33927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Thanos C Dimopoulos, MD</a:t>
            </a:r>
          </a:p>
        </p:txBody>
      </p:sp>
    </p:spTree>
    <p:extLst>
      <p:ext uri="{BB962C8B-B14F-4D97-AF65-F5344CB8AC3E}">
        <p14:creationId xmlns:p14="http://schemas.microsoft.com/office/powerpoint/2010/main" val="2211725304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7677BF9-E324-8B51-41DD-E660AEAB38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33A9E0-5776-47C5-A908-001B6C650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017" y="76326"/>
            <a:ext cx="10872445" cy="1103313"/>
          </a:xfrm>
        </p:spPr>
        <p:txBody>
          <a:bodyPr/>
          <a:lstStyle/>
          <a:p>
            <a:r>
              <a:rPr lang="en-US" altLang="en-US" sz="3600" dirty="0">
                <a:solidFill>
                  <a:srgbClr val="C00000"/>
                </a:solidFill>
              </a:rPr>
              <a:t>LINKER-MM1 Update: </a:t>
            </a:r>
            <a:r>
              <a:rPr lang="en-US" dirty="0">
                <a:solidFill>
                  <a:srgbClr val="C00000"/>
                </a:solidFill>
              </a:rPr>
              <a:t>Efficacy</a:t>
            </a:r>
          </a:p>
        </p:txBody>
      </p:sp>
      <p:sp>
        <p:nvSpPr>
          <p:cNvPr id="15" name="Text Box 11">
            <a:extLst>
              <a:ext uri="{FF2B5EF4-FFF2-40B4-BE49-F238E27FC236}">
                <a16:creationId xmlns:a16="http://schemas.microsoft.com/office/drawing/2014/main" id="{758E5A1A-467B-A784-288D-BA572ADDF0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01818" y="6592603"/>
            <a:ext cx="841017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hah MR, et al. ASH 2024;Abstract 3369; Bumma J Clin Oncol 2024</a:t>
            </a: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4555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6" name="Group 4">
            <a:extLst>
              <a:ext uri="{FF2B5EF4-FFF2-40B4-BE49-F238E27FC236}">
                <a16:creationId xmlns:a16="http://schemas.microsoft.com/office/drawing/2014/main" id="{3F429F0F-7386-FC0B-8EC8-17FA1E02624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768682" y="76554"/>
            <a:ext cx="5422006" cy="6620172"/>
            <a:chOff x="4153" y="-56"/>
            <a:chExt cx="3584" cy="4376"/>
          </a:xfrm>
        </p:grpSpPr>
        <p:sp>
          <p:nvSpPr>
            <p:cNvPr id="17" name="AutoShape 3">
              <a:extLst>
                <a:ext uri="{FF2B5EF4-FFF2-40B4-BE49-F238E27FC236}">
                  <a16:creationId xmlns:a16="http://schemas.microsoft.com/office/drawing/2014/main" id="{63CD9A61-3933-B72C-E056-3B54387C4A6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259" y="0"/>
              <a:ext cx="3478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029" name="Picture 5">
              <a:extLst>
                <a:ext uri="{FF2B5EF4-FFF2-40B4-BE49-F238E27FC236}">
                  <a16:creationId xmlns:a16="http://schemas.microsoft.com/office/drawing/2014/main" id="{D7C1F843-52F4-2CA7-CDF0-8350F75624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53" y="-56"/>
              <a:ext cx="3482" cy="43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8" name="Group 8">
            <a:extLst>
              <a:ext uri="{FF2B5EF4-FFF2-40B4-BE49-F238E27FC236}">
                <a16:creationId xmlns:a16="http://schemas.microsoft.com/office/drawing/2014/main" id="{B6AB9D0F-E555-E8A5-7C24-D60AC13B876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67360" y="1430655"/>
            <a:ext cx="5864225" cy="4737100"/>
            <a:chOff x="424" y="822"/>
            <a:chExt cx="3694" cy="2984"/>
          </a:xfrm>
        </p:grpSpPr>
        <p:sp>
          <p:nvSpPr>
            <p:cNvPr id="19" name="AutoShape 7">
              <a:extLst>
                <a:ext uri="{FF2B5EF4-FFF2-40B4-BE49-F238E27FC236}">
                  <a16:creationId xmlns:a16="http://schemas.microsoft.com/office/drawing/2014/main" id="{A73993A5-8EF6-7BD3-F16C-47A2C0A1303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24" y="822"/>
              <a:ext cx="3686" cy="2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033" name="Picture 9">
              <a:extLst>
                <a:ext uri="{FF2B5EF4-FFF2-40B4-BE49-F238E27FC236}">
                  <a16:creationId xmlns:a16="http://schemas.microsoft.com/office/drawing/2014/main" id="{1F5C6024-3FC0-0092-B263-5688656B4EF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81" t="2614"/>
            <a:stretch/>
          </p:blipFill>
          <p:spPr bwMode="auto">
            <a:xfrm>
              <a:off x="482" y="900"/>
              <a:ext cx="3636" cy="29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05CD3B2A-03FA-900C-83C6-E8ABB42EAFBB}"/>
              </a:ext>
            </a:extLst>
          </p:cNvPr>
          <p:cNvSpPr txBox="1"/>
          <p:nvPr/>
        </p:nvSpPr>
        <p:spPr>
          <a:xfrm>
            <a:off x="144966" y="6490010"/>
            <a:ext cx="33927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Thanos C Dimopoulos, MD</a:t>
            </a:r>
          </a:p>
        </p:txBody>
      </p:sp>
    </p:spTree>
    <p:extLst>
      <p:ext uri="{BB962C8B-B14F-4D97-AF65-F5344CB8AC3E}">
        <p14:creationId xmlns:p14="http://schemas.microsoft.com/office/powerpoint/2010/main" val="226422790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A2C417-DE50-DC98-2097-711518042E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1E97E7-A692-1A15-E204-568F8E7B3E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620689"/>
            <a:ext cx="10358967" cy="5400600"/>
          </a:xfrm>
        </p:spPr>
        <p:txBody>
          <a:bodyPr anchor="ctr"/>
          <a:lstStyle/>
          <a:p>
            <a:pPr marL="98425" indent="0" algn="ctr">
              <a:buNone/>
            </a:pPr>
            <a:r>
              <a:rPr lang="en-US" sz="4000" dirty="0"/>
              <a:t>How does the PFS with bispecific </a:t>
            </a:r>
            <a:br>
              <a:rPr lang="en-US" sz="4000" dirty="0"/>
            </a:br>
            <a:r>
              <a:rPr lang="en-US" sz="4000" dirty="0"/>
              <a:t>antibodies (indirectly) compare to </a:t>
            </a:r>
            <a:br>
              <a:rPr lang="en-US" sz="4000" dirty="0"/>
            </a:br>
            <a:r>
              <a:rPr lang="en-US" sz="4000" dirty="0"/>
              <a:t>that with CAR T-cell therapy for patients </a:t>
            </a:r>
            <a:br>
              <a:rPr lang="en-US" sz="4000" dirty="0"/>
            </a:br>
            <a:r>
              <a:rPr lang="en-US" sz="4000" dirty="0"/>
              <a:t>with relapsed/refractory MM?</a:t>
            </a:r>
          </a:p>
        </p:txBody>
      </p:sp>
    </p:spTree>
    <p:extLst>
      <p:ext uri="{BB962C8B-B14F-4D97-AF65-F5344CB8AC3E}">
        <p14:creationId xmlns:p14="http://schemas.microsoft.com/office/powerpoint/2010/main" val="8063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6F81B6-04D3-A83A-92A3-0F46FA9074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501A09-F69D-73FF-84DD-E90458D5F2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620689"/>
            <a:ext cx="10358967" cy="5400600"/>
          </a:xfrm>
        </p:spPr>
        <p:txBody>
          <a:bodyPr anchor="ctr"/>
          <a:lstStyle/>
          <a:p>
            <a:pPr marL="98425" indent="0" algn="ctr">
              <a:buNone/>
            </a:pPr>
            <a:r>
              <a:rPr lang="en-US" sz="4000" dirty="0"/>
              <a:t>How do you typically sequence BS </a:t>
            </a:r>
            <a:br>
              <a:rPr lang="en-US" sz="4000" dirty="0"/>
            </a:br>
            <a:r>
              <a:rPr lang="en-US" sz="4000" dirty="0"/>
              <a:t>and CAR T-cell therapy in MM?</a:t>
            </a:r>
          </a:p>
        </p:txBody>
      </p:sp>
    </p:spTree>
    <p:extLst>
      <p:ext uri="{BB962C8B-B14F-4D97-AF65-F5344CB8AC3E}">
        <p14:creationId xmlns:p14="http://schemas.microsoft.com/office/powerpoint/2010/main" val="4067008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20A4CC-9C38-BDB2-4F95-0E3079660A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3B0322-4E2F-4BB1-91EA-A39342CE41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620689"/>
            <a:ext cx="10358967" cy="5400600"/>
          </a:xfrm>
        </p:spPr>
        <p:txBody>
          <a:bodyPr anchor="ctr"/>
          <a:lstStyle/>
          <a:p>
            <a:pPr marL="98425" indent="0" algn="ctr">
              <a:buNone/>
            </a:pPr>
            <a:r>
              <a:rPr lang="en-US" sz="4000" dirty="0"/>
              <a:t>Other than tolerability issues with </a:t>
            </a:r>
            <a:r>
              <a:rPr lang="en-US" sz="4000" dirty="0" err="1"/>
              <a:t>talquetamab</a:t>
            </a:r>
            <a:r>
              <a:rPr lang="en-US" sz="4000" dirty="0"/>
              <a:t>, how would you compare schedule, method of administration and duration of treatment of </a:t>
            </a:r>
            <a:br>
              <a:rPr lang="en-US" sz="4000" dirty="0"/>
            </a:br>
            <a:r>
              <a:rPr lang="en-US" sz="4000" dirty="0"/>
              <a:t>the other approved BS and </a:t>
            </a:r>
            <a:r>
              <a:rPr lang="en-US" sz="4000" dirty="0" err="1"/>
              <a:t>linvoseltamab</a:t>
            </a:r>
            <a:r>
              <a:rPr lang="en-US" sz="40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470768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6D9C8B-AAD0-83C8-8939-F82B16B8D5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428B663-3359-27A9-CC66-FD422BDFC0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620689"/>
            <a:ext cx="10358967" cy="5400600"/>
          </a:xfrm>
        </p:spPr>
        <p:txBody>
          <a:bodyPr anchor="ctr"/>
          <a:lstStyle/>
          <a:p>
            <a:pPr marL="98425" indent="0" algn="ctr">
              <a:buNone/>
            </a:pPr>
            <a:r>
              <a:rPr lang="en-US" sz="4000" dirty="0"/>
              <a:t>What is the likely future role of BS </a:t>
            </a:r>
            <a:br>
              <a:rPr lang="en-US" sz="4000" dirty="0"/>
            </a:br>
            <a:r>
              <a:rPr lang="en-US" sz="4000" dirty="0"/>
              <a:t>and CAR-T as upfront therapy?</a:t>
            </a:r>
          </a:p>
        </p:txBody>
      </p:sp>
    </p:spTree>
    <p:extLst>
      <p:ext uri="{BB962C8B-B14F-4D97-AF65-F5344CB8AC3E}">
        <p14:creationId xmlns:p14="http://schemas.microsoft.com/office/powerpoint/2010/main" val="3275930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126F7E-8284-08B5-72AC-8BE36CCF28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FFFF91E-1A66-2818-2C76-7F47EBC40E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620689"/>
            <a:ext cx="10358967" cy="5400600"/>
          </a:xfrm>
        </p:spPr>
        <p:txBody>
          <a:bodyPr anchor="ctr"/>
          <a:lstStyle/>
          <a:p>
            <a:pPr marL="98425" indent="0" algn="ctr">
              <a:buNone/>
            </a:pPr>
            <a:r>
              <a:rPr lang="en-US" sz="4000" dirty="0"/>
              <a:t>How much of a problem are infections in patients on BS, and how does the use of immunoglobulins impact infection risks? </a:t>
            </a:r>
            <a:br>
              <a:rPr lang="en-US" sz="4000" dirty="0"/>
            </a:br>
            <a:r>
              <a:rPr lang="en-US" sz="4000" dirty="0"/>
              <a:t>Should BS be given for a fixed duration? </a:t>
            </a:r>
          </a:p>
        </p:txBody>
      </p:sp>
    </p:spTree>
    <p:extLst>
      <p:ext uri="{BB962C8B-B14F-4D97-AF65-F5344CB8AC3E}">
        <p14:creationId xmlns:p14="http://schemas.microsoft.com/office/powerpoint/2010/main" val="88984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40618DA-3EB0-D148-5B57-7182C76E77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0458" y="2636913"/>
            <a:ext cx="5910835" cy="330474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DDEC8D5-88F7-86CC-BE9C-543AE15AAC5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260648"/>
            <a:ext cx="5976664" cy="334899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6014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7D8C01-93BB-4800-CCC0-AF5C51F971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A4A9B0B-64A5-5152-567A-EC8FADFA9C61}"/>
              </a:ext>
            </a:extLst>
          </p:cNvPr>
          <p:cNvSpPr/>
          <p:nvPr/>
        </p:nvSpPr>
        <p:spPr bwMode="auto">
          <a:xfrm>
            <a:off x="407368" y="5229200"/>
            <a:ext cx="11449272" cy="576064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BE7C90-0460-DBCB-07FD-0036BE848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51" y="332656"/>
            <a:ext cx="1015269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br>
              <a:rPr lang="en-US" dirty="0"/>
            </a:br>
            <a:br>
              <a:rPr lang="en-US" sz="1200" dirty="0"/>
            </a:br>
            <a:r>
              <a:rPr lang="en-US" dirty="0"/>
              <a:t>Year in Review: Management of Multiple Myeloma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8F3657-7C52-DE87-2D7B-BA29803082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9533" y="1988840"/>
            <a:ext cx="9774980" cy="2736304"/>
          </a:xfrm>
        </p:spPr>
        <p:txBody>
          <a:bodyPr/>
          <a:lstStyle/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CO 2025 Preview</a:t>
            </a:r>
            <a:endParaRPr lang="en-US" sz="2400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1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ti-CD38 Antibodies</a:t>
            </a:r>
            <a:endParaRPr lang="en-US" sz="2400" b="1" dirty="0">
              <a:solidFill>
                <a:srgbClr val="3233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2: </a:t>
            </a:r>
            <a:r>
              <a:rPr lang="en-US" sz="2400" b="1" kern="0" dirty="0" err="1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Belantamab</a:t>
            </a:r>
            <a:r>
              <a:rPr lang="en-US" sz="2400" b="1" kern="0" dirty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1" kern="0" dirty="0" err="1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Mafodotin</a:t>
            </a:r>
            <a:endParaRPr lang="en-US" sz="2400" b="1" kern="0" dirty="0">
              <a:solidFill>
                <a:srgbClr val="212121"/>
              </a:solidFill>
              <a:effectLst/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3: </a:t>
            </a:r>
            <a:r>
              <a:rPr lang="en-US" sz="2400" dirty="0">
                <a:solidFill>
                  <a:srgbClr val="212121"/>
                </a:solidFill>
                <a:latin typeface="+mn-lt"/>
                <a:cs typeface="Times New Roman" panose="02020603050405020304" pitchFamily="18" charset="0"/>
              </a:rPr>
              <a:t>CAR T-Cell Therapy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4: </a:t>
            </a:r>
            <a:r>
              <a:rPr lang="en-US" sz="2400" b="1" kern="0" dirty="0">
                <a:solidFill>
                  <a:srgbClr val="21212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Bispecific Antibodies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chemeClr val="bg1"/>
                </a:solidFill>
              </a:rPr>
              <a:t>MODULE 5: Other </a:t>
            </a:r>
            <a:r>
              <a:rPr lang="en-US" sz="2400" b="1" kern="0" dirty="0">
                <a:solidFill>
                  <a:schemeClr val="bg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Novel Agents</a:t>
            </a:r>
          </a:p>
        </p:txBody>
      </p:sp>
    </p:spTree>
    <p:extLst>
      <p:ext uri="{BB962C8B-B14F-4D97-AF65-F5344CB8AC3E}">
        <p14:creationId xmlns:p14="http://schemas.microsoft.com/office/powerpoint/2010/main" val="2587861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0669E5-80C4-47BE-2EDF-B50FC4F30F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BDFF90-5BCC-6FF3-0C65-9DAA8145C3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24245"/>
            <a:ext cx="9127996" cy="1143000"/>
          </a:xfrm>
        </p:spPr>
        <p:txBody>
          <a:bodyPr/>
          <a:lstStyle/>
          <a:p>
            <a:r>
              <a:rPr lang="en-US" dirty="0"/>
              <a:t>CC-92480-MM-02: </a:t>
            </a:r>
            <a:r>
              <a:rPr lang="en-US" dirty="0" err="1"/>
              <a:t>MeziKd</a:t>
            </a:r>
            <a:r>
              <a:rPr lang="en-US" dirty="0"/>
              <a:t> or </a:t>
            </a:r>
            <a:r>
              <a:rPr lang="en-US" dirty="0" err="1"/>
              <a:t>MeziVd</a:t>
            </a:r>
            <a:endParaRPr lang="en-US" baseline="30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BC5B6EC-59D0-5F48-BF15-DEB929F9A2BF}"/>
              </a:ext>
            </a:extLst>
          </p:cNvPr>
          <p:cNvSpPr txBox="1"/>
          <p:nvPr/>
        </p:nvSpPr>
        <p:spPr>
          <a:xfrm>
            <a:off x="1524000" y="6464423"/>
            <a:ext cx="91279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imes"/>
                <a:ea typeface="ＭＳ Ｐゴシック" panose="020B0600070205080204" pitchFamily="34" charset="-128"/>
                <a:cs typeface="Arial" panose="020B0604020202020204" pitchFamily="34" charset="0"/>
              </a:rPr>
              <a:t>Sandhu I et al.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imes"/>
                <a:ea typeface="ＭＳ Ｐゴシック" panose="020B0600070205080204" pitchFamily="34" charset="-128"/>
                <a:cs typeface="+mn-cs"/>
              </a:rPr>
              <a:t>ASH 2024;Abstract 1025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CC9C731-1B3E-A41B-204C-A8B39FF85B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14400" y="1025342"/>
            <a:ext cx="5257800" cy="228118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F1BFE27-9DBE-A923-9DB1-B64D14A142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2800" y="3277350"/>
            <a:ext cx="7222996" cy="2981211"/>
          </a:xfrm>
          <a:prstGeom prst="rect">
            <a:avLst/>
          </a:prstGeom>
        </p:spPr>
      </p:pic>
      <p:pic>
        <p:nvPicPr>
          <p:cNvPr id="3" name="Picture 0" descr="MDACC_PMS_TC_tag.eps">
            <a:extLst>
              <a:ext uri="{FF2B5EF4-FFF2-40B4-BE49-F238E27FC236}">
                <a16:creationId xmlns:a16="http://schemas.microsoft.com/office/drawing/2014/main" id="{96D802DE-2C12-7B23-0A69-46DBDDBFD1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600" y="152400"/>
            <a:ext cx="1123950" cy="5334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41CF632-E246-B412-EC63-DA5CB4703DFB}"/>
              </a:ext>
            </a:extLst>
          </p:cNvPr>
          <p:cNvSpPr txBox="1"/>
          <p:nvPr/>
        </p:nvSpPr>
        <p:spPr>
          <a:xfrm>
            <a:off x="144966" y="6490010"/>
            <a:ext cx="35022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Robert Z Orlowski, MD, PhD</a:t>
            </a:r>
          </a:p>
        </p:txBody>
      </p:sp>
    </p:spTree>
    <p:extLst>
      <p:ext uri="{BB962C8B-B14F-4D97-AF65-F5344CB8AC3E}">
        <p14:creationId xmlns:p14="http://schemas.microsoft.com/office/powerpoint/2010/main" val="1652206220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0E0CC6-69BC-9048-1F80-C6AD650333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0CE585-C378-6542-6E01-3FD447975B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3464"/>
            <a:ext cx="9127996" cy="892703"/>
          </a:xfrm>
        </p:spPr>
        <p:txBody>
          <a:bodyPr/>
          <a:lstStyle/>
          <a:p>
            <a:r>
              <a:rPr lang="en-US" dirty="0" err="1"/>
              <a:t>MeziKd</a:t>
            </a:r>
            <a:r>
              <a:rPr lang="en-US" dirty="0"/>
              <a:t> or </a:t>
            </a:r>
            <a:r>
              <a:rPr lang="en-US" dirty="0" err="1"/>
              <a:t>MeziVd</a:t>
            </a:r>
            <a:r>
              <a:rPr lang="en-US" dirty="0"/>
              <a:t>: Efficacy &amp; Safety</a:t>
            </a:r>
            <a:endParaRPr lang="en-US" baseline="30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24A5B4-0F2C-7453-C1BA-2B3BC547DE29}"/>
              </a:ext>
            </a:extLst>
          </p:cNvPr>
          <p:cNvSpPr txBox="1"/>
          <p:nvPr/>
        </p:nvSpPr>
        <p:spPr>
          <a:xfrm>
            <a:off x="1524000" y="6454031"/>
            <a:ext cx="91279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imes"/>
                <a:ea typeface="ＭＳ Ｐゴシック" panose="020B0600070205080204" pitchFamily="34" charset="-128"/>
                <a:cs typeface="Arial" panose="020B0604020202020204" pitchFamily="34" charset="0"/>
              </a:rPr>
              <a:t>Sandhu I et al.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imes"/>
                <a:ea typeface="ＭＳ Ｐゴシック" panose="020B0600070205080204" pitchFamily="34" charset="-128"/>
                <a:cs typeface="+mn-cs"/>
              </a:rPr>
              <a:t>ASH 2024;Abstract 1025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AA910C4-F806-4EE0-7511-EB100BB291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4600" y="984776"/>
            <a:ext cx="6858000" cy="247570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E4A30E9-E7FA-5617-26DB-4D719B64D9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4600" y="3429000"/>
            <a:ext cx="6858000" cy="2642921"/>
          </a:xfrm>
          <a:prstGeom prst="rect">
            <a:avLst/>
          </a:prstGeom>
        </p:spPr>
      </p:pic>
      <p:pic>
        <p:nvPicPr>
          <p:cNvPr id="3" name="Picture 0" descr="MDACC_PMS_TC_tag.eps">
            <a:extLst>
              <a:ext uri="{FF2B5EF4-FFF2-40B4-BE49-F238E27FC236}">
                <a16:creationId xmlns:a16="http://schemas.microsoft.com/office/drawing/2014/main" id="{6FD92B5E-A38D-9E53-6A9A-223A2A97E2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600" y="152400"/>
            <a:ext cx="1123950" cy="533400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554D312-0D83-7BB9-6100-6A4E9D7FA3A6}"/>
              </a:ext>
            </a:extLst>
          </p:cNvPr>
          <p:cNvSpPr txBox="1"/>
          <p:nvPr/>
        </p:nvSpPr>
        <p:spPr>
          <a:xfrm>
            <a:off x="144966" y="6490010"/>
            <a:ext cx="35022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Robert Z Orlowski, MD, PhD</a:t>
            </a:r>
          </a:p>
        </p:txBody>
      </p:sp>
    </p:spTree>
    <p:extLst>
      <p:ext uri="{BB962C8B-B14F-4D97-AF65-F5344CB8AC3E}">
        <p14:creationId xmlns:p14="http://schemas.microsoft.com/office/powerpoint/2010/main" val="566856150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77AB5A-9CBA-2E50-A5CD-B51A113352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04412E-FD9D-8E1B-E495-99D1D26CD8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620689"/>
            <a:ext cx="10358967" cy="5400600"/>
          </a:xfrm>
        </p:spPr>
        <p:txBody>
          <a:bodyPr anchor="ctr"/>
          <a:lstStyle/>
          <a:p>
            <a:pPr marL="98425" indent="0" algn="ctr">
              <a:buNone/>
            </a:pPr>
            <a:r>
              <a:rPr lang="en-US" sz="4000" dirty="0"/>
              <a:t>How would you compare the </a:t>
            </a:r>
            <a:br>
              <a:rPr lang="en-US" sz="4000" dirty="0"/>
            </a:br>
            <a:r>
              <a:rPr lang="en-US" sz="4000" dirty="0"/>
              <a:t>efficacy and tolerability of </a:t>
            </a:r>
            <a:r>
              <a:rPr lang="en-US" sz="4000" dirty="0" err="1"/>
              <a:t>mezigdomide</a:t>
            </a:r>
            <a:r>
              <a:rPr lang="en-US" sz="4000" dirty="0"/>
              <a:t>, </a:t>
            </a:r>
            <a:r>
              <a:rPr lang="en-US" sz="4000" dirty="0" err="1"/>
              <a:t>iberdomide</a:t>
            </a:r>
            <a:r>
              <a:rPr lang="en-US" sz="4000" dirty="0"/>
              <a:t> and lenalidomide?</a:t>
            </a:r>
          </a:p>
        </p:txBody>
      </p:sp>
    </p:spTree>
    <p:extLst>
      <p:ext uri="{BB962C8B-B14F-4D97-AF65-F5344CB8AC3E}">
        <p14:creationId xmlns:p14="http://schemas.microsoft.com/office/powerpoint/2010/main" val="4076248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452FC1-959D-8039-FB83-42EEA9C086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7759576-1483-12BA-51FB-3B5E1F68E007}"/>
              </a:ext>
            </a:extLst>
          </p:cNvPr>
          <p:cNvSpPr txBox="1"/>
          <p:nvPr/>
        </p:nvSpPr>
        <p:spPr>
          <a:xfrm>
            <a:off x="0" y="288032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Key Datase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681B760-3B78-E760-B24D-E6D32978C26A}"/>
              </a:ext>
            </a:extLst>
          </p:cNvPr>
          <p:cNvSpPr txBox="1"/>
          <p:nvPr/>
        </p:nvSpPr>
        <p:spPr>
          <a:xfrm>
            <a:off x="623392" y="836712"/>
            <a:ext cx="10585176" cy="55810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8425" marR="0" lvl="0" indent="0" algn="l" defTabSz="455613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obert Z Orlowski, MD, PhD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Dimopoulos MA et al.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Daratumumab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or active monitoring for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high-risk smoldering multiple myeloma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</a:b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N Engl J Med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2024;[Online ahead of print]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Bertamini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L et al.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Circulating tumor cell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as a biomarker to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dentify high-risk transplant eligible myeloma patient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treated with bortezomib, lenalidomide and dexamethasone with or without daratumumab during induction/consolidation, and lenalidomide with or without daratumumab during maintenance: Results from the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erseus study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ASH 2024;Abstract 487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ai EK et al.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satuximab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, lenalidomide, bortezomib, and dexamethasone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induction therapy for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transplant-eligible newly diagnosed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ultiple myeloma: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Final part 1 analysis of the GMMG-HD7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trial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J Clin Oncol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2025;43(11):1279-88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Usmani SZ et al.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Daratumumab plus bortezomib, lenalidomide and dexamethasone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for transplant-ineligible or transplant-deferred newly diagnosed multiple myeloma: The randomized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hase 3 CEPHEUS trial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Nat Med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2025;[Online ahead of print]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Facon T et al.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satuximab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, bortezomib, lenalidomide, and dexamethasone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for multiple myeloma.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N Engl J Med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2024;391(17):1597-609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Leleu X et al.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satuximab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, lenalidomide, dexamethasone and bortezomib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n transplant-ineligible multiple myeloma: The randomized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hase 3 BENEFIT trial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Nat Med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2024;30(8):2235-41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1546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41B1E5-BAB0-9295-D559-8727DF2A95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65BFB9B-6185-B3CF-F298-03414581A27C}"/>
              </a:ext>
            </a:extLst>
          </p:cNvPr>
          <p:cNvSpPr txBox="1"/>
          <p:nvPr/>
        </p:nvSpPr>
        <p:spPr>
          <a:xfrm>
            <a:off x="0" y="288032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Key Datase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292D1CF-2224-A9EB-D9F8-02DBB0A27320}"/>
              </a:ext>
            </a:extLst>
          </p:cNvPr>
          <p:cNvSpPr txBox="1"/>
          <p:nvPr/>
        </p:nvSpPr>
        <p:spPr>
          <a:xfrm>
            <a:off x="623392" y="980728"/>
            <a:ext cx="10585176" cy="55553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8425">
              <a:spcBef>
                <a:spcPts val="1800"/>
              </a:spcBef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obert Z Orlowski, MD, PhD (continued)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Badro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A et al.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Daratumumab with lenalidomide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s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aintenance after transplant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n newly diagnosed multiple myeloma: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The AURIGA study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Blood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2025;145(3):300-10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asquini MC et al.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inimal residual disease status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n multiple myeloma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1 year after autologous hematopoietic cell transplantation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and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lenalidomide maintenance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re associated with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long-term overall surviva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l.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J Clin Oncol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2024;42(23):2757-68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Yong K et al.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satuximab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plus carfilzomib-dexamethasone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versus carfilzomib-dexamethasone in patients with relapsed multiple myeloma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(IKEMA): Overall survival analysis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of a phase 3,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andomised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, controlled trial.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Lancet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Haematol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2024;11(10)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ichardson PG et al.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satuximab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-pomalidomide-dexamethasone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versus pomalidomide-dexamethasone in patients with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elapsed and refractory multiple myeloma: Final overall survival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analysis. 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Haematologica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2024;109(7):2239-49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New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satuximab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subcutaneous formulation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et co-primary endpoints in the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RAKLIA phase 3 study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in multiple myeloma [press release]. January 9, 2025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Sandhu I et al. </a:t>
            </a:r>
            <a:r>
              <a:rPr kumimoji="0" lang="en-US" sz="1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Mezigdomide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(MEZI)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plus dexamethasone (DEX) and bortezomib (BORT) or carfilzomib (CFZ) in patients (pts) with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relapsed/refractory multiple myeloma (RRMM):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Updated results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from the </a:t>
            </a: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CC-92480-MM-002 trial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Aptos" panose="020B0004020202020204" pitchFamily="34" charset="0"/>
                <a:cs typeface="Calibri" panose="020F0502020204030204" pitchFamily="34" charset="0"/>
              </a:rPr>
              <a:t>. ASH 2024;Abstract 1025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Aptos" panose="020B000402020202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705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CFG_REPOLL" val="true"/>
  <p:tag name="KPI_CFG_RPCLEARS" val="true"/>
  <p:tag name="KPI_CFG_FB_TYPE" val="Tiny Counter"/>
  <p:tag name="KPI_CFG_FB_MONITOR" val="Slide Show Monitor"/>
  <p:tag name="KPI_CFG_FB_POSITION" val="Bottom Right"/>
  <p:tag name="KPI_CFG_INS_CLK" val="false"/>
  <p:tag name="KPI_CFG_UNITS" val="1"/>
  <p:tag name="KPI_CFG_SPEED" val="false"/>
  <p:tag name="KPI_SLIDE_COUNT" val="89"/>
  <p:tag name="KPI_VERSION" val="2.0.10292.1"/>
  <p:tag name="KPI_STORAGE" val="&lt;keypoint&quot;&quot;&lt;roster&quot;&quot;&lt;currentId&quot;200&quot;&gt;&lt;trIndex&quot;&quot;&lt;tr(@tid:1@pid:1)&quot;&quot;&lt;v&quot;1&quot;&gt;&gt;&lt;tr(@tid:1@pid:2)&quot;&quot;&lt;v&quot;2&quot;&gt;&gt;&lt;tr(@tid:1@pid:3)&quot;&quot;&lt;v&quot;3&quot;&gt;&gt;&lt;tr(@tid:1@pid:4)&quot;&quot;&lt;v&quot;4&quot;&gt;&gt;&lt;tr(@tid:1@pid:5)&quot;&quot;&lt;v&quot;5&quot;&gt;&gt;&lt;tr(@tid:1@pid:6)&quot;&quot;&lt;v&quot;6&quot;&gt;&gt;&lt;tr(@tid:1@pid:7)&quot;&quot;&lt;v&quot;7&quot;&gt;&gt;&lt;tr(@tid:1@pid:8)&quot;&quot;&lt;v&quot;8&quot;&gt;&gt;&lt;tr(@tid:1@pid:9)&quot;&quot;&lt;v&quot;9&quot;&gt;&gt;&lt;tr(@tid:1@pid:10)&quot;&quot;&lt;v&quot;10&quot;&gt;&gt;&lt;tr(@tid:1@pid:11)&quot;&quot;&lt;v&quot;11&quot;&gt;&gt;&lt;tr(@tid:1@pid:12)&quot;&quot;&lt;v&quot;12&quot;&gt;&gt;&lt;tr(@tid:1@pid:13)&quot;&quot;&lt;v&quot;13&quot;&gt;&gt;&lt;tr(@tid:1@pid:14)&quot;&quot;&lt;v&quot;14&quot;&gt;&gt;&lt;tr(@tid:1@pid:15)&quot;&quot;&lt;v&quot;15&quot;&gt;&gt;&lt;tr(@tid:1@pid:16)&quot;&quot;&lt;v&quot;16&quot;&gt;&gt;&lt;tr(@tid:1@pid:17)&quot;&quot;&lt;v&quot;17&quot;&gt;&gt;&lt;tr(@tid:1@pid:18)&quot;&quot;&lt;v&quot;18&quot;&gt;&gt;&lt;tr(@tid:1@pid:19)&quot;&quot;&lt;v&quot;19&quot;&gt;&gt;&lt;tr(@tid:1@pid:20)&quot;&quot;&lt;v&quot;20&quot;&gt;&gt;&lt;tr(@tid:1@pid:21)&quot;&quot;&lt;v&quot;21&quot;&gt;&gt;&lt;tr(@tid:1@pid:22)&quot;&quot;&lt;v&quot;22&quot;&gt;&gt;&lt;tr(@tid:1@pid:23)&quot;&quot;&lt;v&quot;23&quot;&gt;&gt;&lt;tr(@tid:1@pid:24)&quot;&quot;&lt;v&quot;24&quot;&gt;&gt;&lt;tr(@tid:1@pid:25)&quot;&quot;&lt;v&quot;25&quot;&gt;&gt;&lt;tr(@tid:1@pid:26)&quot;&quot;&lt;v&quot;26&quot;&gt;&gt;&lt;tr(@tid:1@pid:27)&quot;&quot;&lt;v&quot;27&quot;&gt;&gt;&lt;tr(@tid:1@pid:28)&quot;&quot;&lt;v&quot;28&quot;&gt;&gt;&lt;tr(@tid:1@pid:29)&quot;&quot;&lt;v&quot;29&quot;&gt;&gt;&lt;tr(@tid:1@pid:30)&quot;&quot;&lt;v&quot;30&quot;&gt;&gt;&lt;tr(@tid:1@pid:31)&quot;&quot;&lt;v&quot;31&quot;&gt;&gt;&lt;tr(@tid:1@pid:32)&quot;&quot;&lt;v&quot;32&quot;&gt;&gt;&lt;tr(@tid:1@pid:33)&quot;&quot;&lt;v&quot;33&quot;&gt;&gt;&lt;tr(@tid:1@pid:34)&quot;&quot;&lt;v&quot;34&quot;&gt;&gt;&lt;tr(@tid:1@pid:35)&quot;&quot;&lt;v&quot;35&quot;&gt;&gt;&lt;tr(@tid:1@pid:36)&quot;&quot;&lt;v&quot;36&quot;&gt;&gt;&lt;tr(@tid:1@pid:37)&quot;&quot;&lt;v&quot;37&quot;&gt;&gt;&lt;tr(@tid:1@pid:38)&quot;&quot;&lt;v&quot;38&quot;&gt;&gt;&lt;tr(@tid:1@pid:39)&quot;&quot;&lt;v&quot;39&quot;&gt;&gt;&lt;tr(@tid:1@pid:40)&quot;&quot;&lt;v&quot;40&quot;&gt;&gt;&lt;tr(@tid:1@pid:41)&quot;&quot;&lt;v&quot;41&quot;&gt;&gt;&lt;tr(@tid:1@pid:42)&quot;&quot;&lt;v&quot;42&quot;&gt;&gt;&lt;tr(@tid:1@pid:43)&quot;&quot;&lt;v&quot;43&quot;&gt;&gt;&lt;tr(@tid:1@pid:44)&quot;&quot;&lt;v&quot;44&quot;&gt;&gt;&lt;tr(@tid:1@pid:45)&quot;&quot;&lt;v&quot;45&quot;&gt;&gt;&lt;tr(@tid:1@pid:46)&quot;&quot;&lt;v&quot;46&quot;&gt;&gt;&lt;tr(@tid:1@pid:47)&quot;&quot;&lt;v&quot;47&quot;&gt;&gt;&lt;tr(@tid:1@pid:48)&quot;&quot;&lt;v&quot;48&quot;&gt;&gt;&lt;tr(@tid:1@pid:49)&quot;&quot;&lt;v&quot;49&quot;&gt;&gt;&lt;tr(@tid:1@pid:50)&quot;&quot;&lt;v&quot;50&quot;&gt;&gt;&lt;tr(@tid:1@pid:51)&quot;&quot;&lt;v&quot;51&quot;&gt;&gt;&lt;tr(@tid:1@pid:52)&quot;&quot;&lt;v&quot;52&quot;&gt;&gt;&lt;tr(@tid:1@pid:53)&quot;&quot;&lt;v&quot;53&quot;&gt;&gt;&lt;tr(@tid:1@pid:54)&quot;&quot;&lt;v&quot;54&quot;&gt;&gt;&lt;tr(@tid:1@pid:55)&quot;&quot;&lt;v&quot;55&quot;&gt;&gt;&lt;tr(@tid:1@pid:56)&quot;&quot;&lt;v&quot;56&quot;&gt;&gt;&lt;tr(@tid:1@pid:57)&quot;&quot;&lt;v&quot;57&quot;&gt;&gt;&lt;tr(@tid:1@pid:58)&quot;&quot;&lt;v&quot;58&quot;&gt;&gt;&lt;tr(@tid:1@pid:59)&quot;&quot;&lt;v&quot;59&quot;&gt;&gt;&lt;tr(@tid:1@pid:60)&quot;&quot;&lt;v&quot;60&quot;&gt;&gt;&lt;tr(@tid:1@pid:61)&quot;&quot;&lt;v&quot;61&quot;&gt;&gt;&lt;tr(@tid:1@pid:62)&quot;&quot;&lt;v&quot;62&quot;&gt;&gt;&lt;tr(@tid:1@pid:63)&quot;&quot;&lt;v&quot;63&quot;&gt;&gt;&lt;tr(@tid:1@pid:64)&quot;&quot;&lt;v&quot;64&quot;&gt;&gt;&lt;tr(@tid:1@pid:65)&quot;&quot;&lt;v&quot;65&quot;&gt;&gt;&lt;tr(@tid:1@pid:66)&quot;&quot;&lt;v&quot;66&quot;&gt;&gt;&lt;tr(@tid:1@pid:67)&quot;&quot;&lt;v&quot;67&quot;&gt;&gt;&lt;tr(@tid:1@pid:68)&quot;&quot;&lt;v&quot;68&quot;&gt;&gt;&lt;tr(@tid:1@pid:69)&quot;&quot;&lt;v&quot;69&quot;&gt;&gt;&lt;tr(@tid:1@pid:70)&quot;&quot;&lt;v&quot;70&quot;&gt;&gt;&lt;tr(@tid:1@pid:71)&quot;&quot;&lt;v&quot;71&quot;&gt;&gt;&lt;tr(@tid:1@pid:72)&quot;&quot;&lt;v&quot;72&quot;&gt;&gt;&lt;tr(@tid:1@pid:73)&quot;&quot;&lt;v&quot;73&quot;&gt;&gt;&lt;tr(@tid:1@pid:74)&quot;&quot;&lt;v&quot;74&quot;&gt;&gt;&lt;tr(@tid:1@pid:75)&quot;&quot;&lt;v&quot;75&quot;&gt;&gt;&lt;tr(@tid:1@pid:76)&quot;&quot;&lt;v&quot;76&quot;&gt;&gt;&lt;tr(@tid:1@pid:77)&quot;&quot;&lt;v&quot;77&quot;&gt;&gt;&lt;tr(@tid:1@pid:78)&quot;&quot;&lt;v&quot;78&quot;&gt;&gt;&lt;tr(@tid:1@pid:79)&quot;&quot;&lt;v&quot;79&quot;&gt;&gt;&lt;tr(@tid:1@pid:80)&quot;&quot;&lt;v&quot;80&quot;&gt;&gt;&lt;tr(@tid:1@pid:81)&quot;&quot;&lt;v&quot;81&quot;&gt;&gt;&lt;tr(@tid:1@pid:82)&quot;&quot;&lt;v&quot;82&quot;&gt;&gt;&lt;tr(@tid:1@pid:83)&quot;&quot;&lt;v&quot;83&quot;&gt;&gt;&lt;tr(@tid:1@pid:84)&quot;&quot;&lt;v&quot;84&quot;&gt;&gt;&lt;tr(@tid:1@pid:85)&quot;&quot;&lt;v&quot;85&quot;&gt;&gt;&lt;tr(@tid:1@pid:86)&quot;&quot;&lt;v&quot;86&quot;&gt;&gt;&lt;tr(@tid:1@pid:87)&quot;&quot;&lt;v&quot;87&quot;&gt;&gt;&lt;tr(@tid:1@pid:88)&quot;&quot;&lt;v&quot;88&quot;&gt;&gt;&lt;tr(@tid:1@pid:89)&quot;&quot;&lt;v&quot;89&quot;&gt;&gt;&lt;tr(@tid:1@pid:90)&quot;&quot;&lt;v&quot;90&quot;&gt;&gt;&lt;tr(@tid:1@pid:91)&quot;&quot;&lt;v&quot;91&quot;&gt;&gt;&lt;tr(@tid:1@pid:92)&quot;&quot;&lt;v&quot;92&quot;&gt;&gt;&lt;tr(@tid:1@pid:93)&quot;&quot;&lt;v&quot;93&quot;&gt;&gt;&lt;tr(@tid:1@pid:94)&quot;&quot;&lt;v&quot;94&quot;&gt;&gt;&lt;tr(@tid:1@pid:95)&quot;&quot;&lt;v&quot;95&quot;&gt;&gt;&lt;tr(@tid:1@pid:96)&quot;&quot;&lt;v&quot;96&quot;&gt;&gt;&lt;tr(@tid:1@pid:97)&quot;&quot;&lt;v&quot;97&quot;&gt;&gt;&lt;tr(@tid:1@pid:98)&quot;&quot;&lt;v&quot;98&quot;&gt;&gt;&lt;tr(@tid:1@pid:99)&quot;&quot;&lt;v&quot;99&quot;&gt;&gt;&lt;tr(@tid:1@pid:100)&quot;&quot;&lt;v&quot;100&quot;&gt;&gt;&lt;tr(@tid:2@pid:1)&quot;&quot;&lt;v&quot;101&quot;&gt;&gt;&lt;tr(@tid:2@pid:2)&quot;&quot;&lt;v&quot;102&quot;&gt;&gt;&lt;tr(@tid:2@pid:3)&quot;&quot;&lt;v&quot;103&quot;&gt;&gt;&lt;tr(@tid:2@pid:4)&quot;&quot;&lt;v&quot;104&quot;&gt;&gt;&lt;tr(@tid:2@pid:5)&quot;&quot;&lt;v&quot;105&quot;&gt;&gt;&lt;tr(@tid:2@pid:6)&quot;&quot;&lt;v&quot;106&quot;&gt;&gt;&lt;tr(@tid:2@pid:7)&quot;&quot;&lt;v&quot;107&quot;&gt;&gt;&lt;tr(@tid:2@pid:8)&quot;&quot;&lt;v&quot;108&quot;&gt;&gt;&lt;tr(@tid:2@pid:9)&quot;&quot;&lt;v&quot;109&quot;&gt;&gt;&lt;tr(@tid:2@pid:10)&quot;&quot;&lt;v&quot;110&quot;&gt;&gt;&lt;tr(@tid:2@pid:11)&quot;&quot;&lt;v&quot;111&quot;&gt;&gt;&lt;tr(@tid:2@pid:12)&quot;&quot;&lt;v&quot;112&quot;&gt;&gt;&lt;tr(@tid:2@pid:13)&quot;&quot;&lt;v&quot;113&quot;&gt;&gt;&lt;tr(@tid:2@pid:14)&quot;&quot;&lt;v&quot;114&quot;&gt;&gt;&lt;tr(@tid:2@pid:15)&quot;&quot;&lt;v&quot;115&quot;&gt;&gt;&lt;tr(@tid:2@pid:16)&quot;&quot;&lt;v&quot;116&quot;&gt;&gt;&lt;tr(@tid:2@pid:17)&quot;&quot;&lt;v&quot;117&quot;&gt;&gt;&lt;tr(@tid:2@pid:18)&quot;&quot;&lt;v&quot;118&quot;&gt;&gt;&lt;tr(@tid:2@pid:19)&quot;&quot;&lt;v&quot;119&quot;&gt;&gt;&lt;tr(@tid:2@pid:20)&quot;&quot;&lt;v&quot;120&quot;&gt;&gt;&lt;tr(@tid:2@pid:21)&quot;&quot;&lt;v&quot;121&quot;&gt;&gt;&lt;tr(@tid:2@pid:22)&quot;&quot;&lt;v&quot;122&quot;&gt;&gt;&lt;tr(@tid:2@pid:23)&quot;&quot;&lt;v&quot;123&quot;&gt;&gt;&lt;tr(@tid:2@pid:24)&quot;&quot;&lt;v&quot;124&quot;&gt;&gt;&lt;tr(@tid:2@pid:25)&quot;&quot;&lt;v&quot;125&quot;&gt;&gt;&lt;tr(@tid:2@pid:26)&quot;&quot;&lt;v&quot;126&quot;&gt;&gt;&lt;tr(@tid:2@pid:27)&quot;&quot;&lt;v&quot;127&quot;&gt;&gt;&lt;tr(@tid:2@pid:28)&quot;&quot;&lt;v&quot;128&quot;&gt;&gt;&lt;tr(@tid:2@pid:29)&quot;&quot;&lt;v&quot;129&quot;&gt;&gt;&lt;tr(@tid:2@pid:30)&quot;&quot;&lt;v&quot;130&quot;&gt;&gt;&lt;tr(@tid:2@pid:31)&quot;&quot;&lt;v&quot;131&quot;&gt;&gt;&lt;tr(@tid:2@pid:32)&quot;&quot;&lt;v&quot;132&quot;&gt;&gt;&lt;tr(@tid:2@pid:33)&quot;&quot;&lt;v&quot;133&quot;&gt;&gt;&lt;tr(@tid:2@pid:34)&quot;&quot;&lt;v&quot;134&quot;&gt;&gt;&lt;tr(@tid:2@pid:35)&quot;&quot;&lt;v&quot;135&quot;&gt;&gt;&lt;tr(@tid:2@pid:36)&quot;&quot;&lt;v&quot;136&quot;&gt;&gt;&lt;tr(@tid:2@pid:37)&quot;&quot;&lt;v&quot;137&quot;&gt;&gt;&lt;tr(@tid:2@pid:38)&quot;&quot;&lt;v&quot;138&quot;&gt;&gt;&lt;tr(@tid:2@pid:39)&quot;&quot;&lt;v&quot;139&quot;&gt;&gt;&lt;tr(@tid:2@pid:40)&quot;&quot;&lt;v&quot;140&quot;&gt;&gt;&lt;tr(@tid:2@pid:41)&quot;&quot;&lt;v&quot;141&quot;&gt;&gt;&lt;tr(@tid:2@pid:42)&quot;&quot;&lt;v&quot;142&quot;&gt;&gt;&lt;tr(@tid:2@pid:43)&quot;&quot;&lt;v&quot;143&quot;&gt;&gt;&lt;tr(@tid:2@pid:44)&quot;&quot;&lt;v&quot;144&quot;&gt;&gt;&lt;tr(@tid:2@pid:45)&quot;&quot;&lt;v&quot;145&quot;&gt;&gt;&lt;tr(@tid:2@pid:46)&quot;&quot;&lt;v&quot;146&quot;&gt;&gt;&lt;tr(@tid:2@pid:47)&quot;&quot;&lt;v&quot;147&quot;&gt;&gt;&lt;tr(@tid:2@pid:48)&quot;&quot;&lt;v&quot;148&quot;&gt;&gt;&lt;tr(@tid:2@pid:49)&quot;&quot;&lt;v&quot;149&quot;&gt;&gt;&lt;tr(@tid:2@pid:50)&quot;&quot;&lt;v&quot;150&quot;&gt;&gt;&lt;tr(@tid:2@pid:51)&quot;&quot;&lt;v&quot;151&quot;&gt;&gt;&lt;tr(@tid:2@pid:52)&quot;&quot;&lt;v&quot;152&quot;&gt;&gt;&lt;tr(@tid:2@pid:53)&quot;&quot;&lt;v&quot;153&quot;&gt;&gt;&lt;tr(@tid:2@pid:54)&quot;&quot;&lt;v&quot;154&quot;&gt;&gt;&lt;tr(@tid:2@pid:55)&quot;&quot;&lt;v&quot;155&quot;&gt;&gt;&lt;tr(@tid:2@pid:56)&quot;&quot;&lt;v&quot;156&quot;&gt;&gt;&lt;tr(@tid:2@pid:57)&quot;&quot;&lt;v&quot;157&quot;&gt;&gt;&lt;tr(@tid:2@pid:58)&quot;&quot;&lt;v&quot;158&quot;&gt;&gt;&lt;tr(@tid:2@pid:59)&quot;&quot;&lt;v&quot;159&quot;&gt;&gt;&lt;tr(@tid:2@pid:60)&quot;&quot;&lt;v&quot;160&quot;&gt;&gt;&lt;tr(@tid:2@pid:61)&quot;&quot;&lt;v&quot;161&quot;&gt;&gt;&lt;tr(@tid:2@pid:62)&quot;&quot;&lt;v&quot;162&quot;&gt;&gt;&lt;tr(@tid:2@pid:63)&quot;&quot;&lt;v&quot;163&quot;&gt;&gt;&lt;tr(@tid:2@pid:64)&quot;&quot;&lt;v&quot;164&quot;&gt;&gt;&lt;tr(@tid:2@pid:65)&quot;&quot;&lt;v&quot;165&quot;&gt;&gt;&lt;tr(@tid:2@pid:66)&quot;&quot;&lt;v&quot;166&quot;&gt;&gt;&lt;tr(@tid:2@pid:67)&quot;&quot;&lt;v&quot;167&quot;&gt;&gt;&lt;tr(@tid:2@pid:68)&quot;&quot;&lt;v&quot;168&quot;&gt;&gt;&lt;tr(@tid:2@pid:69)&quot;&quot;&lt;v&quot;169&quot;&gt;&gt;&lt;tr(@tid:2@pid:70)&quot;&quot;&lt;v&quot;170&quot;&gt;&gt;&lt;tr(@tid:2@pid:71)&quot;&quot;&lt;v&quot;171&quot;&gt;&gt;&lt;tr(@tid:2@pid:72)&quot;&quot;&lt;v&quot;172&quot;&gt;&gt;&lt;tr(@tid:2@pid:73)&quot;&quot;&lt;v&quot;173&quot;&gt;&gt;&lt;tr(@tid:2@pid:74)&quot;&quot;&lt;v&quot;174&quot;&gt;&gt;&lt;tr(@tid:2@pid:75)&quot;&quot;&lt;v&quot;175&quot;&gt;&gt;&lt;tr(@tid:2@pid:76)&quot;&quot;&lt;v&quot;176&quot;&gt;&gt;&lt;tr(@tid:2@pid:77)&quot;&quot;&lt;v&quot;177&quot;&gt;&gt;&lt;tr(@tid:2@pid:78)&quot;&quot;&lt;v&quot;178&quot;&gt;&gt;&lt;tr(@tid:2@pid:79)&quot;&quot;&lt;v&quot;179&quot;&gt;&gt;&lt;tr(@tid:2@pid:80)&quot;&quot;&lt;v&quot;180&quot;&gt;&gt;&lt;tr(@tid:2@pid:81)&quot;&quot;&lt;v&quot;181&quot;&gt;&gt;&lt;tr(@tid:2@pid:82)&quot;&quot;&lt;v&quot;182&quot;&gt;&gt;&lt;tr(@tid:2@pid:83)&quot;&quot;&lt;v&quot;183&quot;&gt;&gt;&lt;tr(@tid:2@pid:84)&quot;&quot;&lt;v&quot;184&quot;&gt;&gt;&lt;tr(@tid:2@pid:85)&quot;&quot;&lt;v&quot;185&quot;&gt;&gt;&lt;tr(@tid:2@pid:86)&quot;&quot;&lt;v&quot;186&quot;&gt;&gt;&lt;tr(@tid:2@pid:87)&quot;&quot;&lt;v&quot;187&quot;&gt;&gt;&lt;tr(@tid:2@pid:88)&quot;&quot;&lt;v&quot;188&quot;&gt;&gt;&lt;tr(@tid:2@pid:89)&quot;&quot;&lt;v&quot;189&quot;&gt;&gt;&lt;tr(@tid:2@pid:90)&quot;&quot;&lt;v&quot;190&quot;&gt;&gt;&lt;tr(@tid:2@pid:91)&quot;&quot;&lt;v&quot;191&quot;&gt;&gt;&lt;tr(@tid:2@pid:92)&quot;&quot;&lt;v&quot;192&quot;&gt;&gt;&lt;tr(@tid:2@pid:93)&quot;&quot;&lt;v&quot;193&quot;&gt;&gt;&lt;tr(@tid:2@pid:94)&quot;&quot;&lt;v&quot;194&quot;&gt;&gt;&lt;tr(@tid:2@pid:95)&quot;&quot;&lt;v&quot;195&quot;&gt;&gt;&lt;tr(@tid:2@pid:96)&quot;&quot;&lt;v&quot;196&quot;&gt;&gt;&lt;tr(@tid:2@pid:97)&quot;&quot;&lt;v&quot;197&quot;&gt;&gt;&lt;tr(@tid:2@pid:98)&quot;&quot;&lt;v&quot;198&quot;&gt;&gt;&lt;tr(@tid:2@pid:99)&quot;&quot;&lt;v&quot;199&quot;&gt;&gt;&lt;tr(@tid:2@pid:100)&quot;&quot;&lt;v&quot;200&quot;&gt;&gt;&gt;&lt;people&quot;&quot;&lt;p(@id:101)&quot;&quot;&lt;f(@i:0)&quot;Keypad&quot;&gt;&lt;f(@i:1)&quot;1&quot;&gt;&gt;&lt;p(@id:102)&quot;&quot;&lt;f(@i:0)&quot;Keypad&quot;&gt;&lt;f(@i:1)&quot;2&quot;&gt;&gt;&lt;p(@id:103)&quot;&quot;&lt;f(@i:0)&quot;Keypad&quot;&gt;&lt;f(@i:1)&quot;3&quot;&gt;&gt;&lt;p(@id:104)&quot;&quot;&lt;f(@i:0)&quot;Keypad&quot;&gt;&lt;f(@i:1)&quot;4&quot;&gt;&gt;&lt;p(@id:105)&quot;&quot;&lt;f(@i:0)&quot;Keypad&quot;&gt;&lt;f(@i:1)&quot;5&quot;&gt;&gt;&lt;p(@id:106)&quot;&quot;&lt;f(@i:0)&quot;Keypad&quot;&gt;&lt;f(@i:1)&quot;6&quot;&gt;&gt;&lt;p(@id:107)&quot;&quot;&lt;f(@i:0)&quot;Keypad&quot;&gt;&lt;f(@i:1)&quot;7&quot;&gt;&gt;&lt;p(@id:108)&quot;&quot;&lt;f(@i:0)&quot;Keypad&quot;&gt;&lt;f(@i:1)&quot;8&quot;&gt;&gt;&lt;p(@id:109)&quot;&quot;&lt;f(@i:0)&quot;Keypad&quot;&gt;&lt;f(@i:1)&quot;9&quot;&gt;&gt;&lt;p(@id:110)&quot;&quot;&lt;f(@i:0)&quot;Keypad&quot;&gt;&lt;f(@i:1)&quot;10&quot;&gt;&gt;&lt;p(@id:111)&quot;&quot;&lt;f(@i:0)&quot;Keypad&quot;&gt;&lt;f(@i:1)&quot;11&quot;&gt;&gt;&lt;p(@id:112)&quot;&quot;&lt;f(@i:0)&quot;Keypad&quot;&gt;&lt;f(@i:1)&quot;12&quot;&gt;&gt;&lt;p(@id:113)&quot;&quot;&lt;f(@i:0)&quot;Keypad&quot;&gt;&lt;f(@i:1)&quot;13&quot;&gt;&gt;&lt;p(@id:114)&quot;&quot;&lt;f(@i:0)&quot;Keypad&quot;&gt;&lt;f(@i:1)&quot;14&quot;&gt;&gt;&lt;p(@id:115)&quot;&quot;&lt;f(@i:0)&quot;Keypad&quot;&gt;&lt;f(@i:1)&quot;15&quot;&gt;&gt;&lt;p(@id:116)&quot;&quot;&lt;f(@i:0)&quot;Keypad&quot;&gt;&lt;f(@i:1)&quot;16&quot;&gt;&gt;&lt;p(@id:117)&quot;&quot;&lt;f(@i:0)&quot;Keypad&quot;&gt;&lt;f(@i:1)&quot;17&quot;&gt;&gt;&lt;p(@id:118)&quot;&quot;&lt;f(@i:0)&quot;Keypad&quot;&gt;&lt;f(@i:1)&quot;18&quot;&gt;&gt;&lt;p(@id:119)&quot;&quot;&lt;f(@i:0)&quot;Keypad&quot;&gt;&lt;f(@i:1)&quot;19&quot;&gt;&gt;&lt;p(@id:120)&quot;&quot;&lt;f(@i:0)&quot;Keypad&quot;&gt;&lt;f(@i:1)&quot;20&quot;&gt;&gt;&lt;p(@id:121)&quot;&quot;&lt;f(@i:0)&quot;Keypad&quot;&gt;&lt;f(@i:1)&quot;21&quot;&gt;&gt;&lt;p(@id:122)&quot;&quot;&lt;f(@i:0)&quot;Keypad&quot;&gt;&lt;f(@i:1)&quot;22&quot;&gt;&gt;&lt;p(@id:123)&quot;&quot;&lt;f(@i:0)&quot;Keypad&quot;&gt;&lt;f(@i:1)&quot;23&quot;&gt;&gt;&lt;p(@id:124)&quot;&quot;&lt;f(@i:0)&quot;Keypad&quot;&gt;&lt;f(@i:1)&quot;24&quot;&gt;&gt;&lt;p(@id:125)&quot;&quot;&lt;f(@i:0)&quot;Keypad&quot;&gt;&lt;f(@i:1)&quot;25&quot;&gt;&gt;&lt;p(@id:126)&quot;&quot;&lt;f(@i:0)&quot;Keypad&quot;&gt;&lt;f(@i:1)&quot;26&quot;&gt;&gt;&lt;p(@id:127)&quot;&quot;&lt;f(@i:0)&quot;Keypad&quot;&gt;&lt;f(@i:1)&quot;27&quot;&gt;&gt;&lt;p(@id:128)&quot;&quot;&lt;f(@i:0)&quot;Keypad&quot;&gt;&lt;f(@i:1)&quot;28&quot;&gt;&gt;&lt;p(@id:129)&quot;&quot;&lt;f(@i:0)&quot;Keypad&quot;&gt;&lt;f(@i:1)&quot;29&quot;&gt;&gt;&lt;p(@id:130)&quot;&quot;&lt;f(@i:0)&quot;Keypad&quot;&gt;&lt;f(@i:1)&quot;30&quot;&gt;&gt;&lt;p(@id:131)&quot;&quot;&lt;f(@i:0)&quot;Keypad&quot;&gt;&lt;f(@i:1)&quot;31&quot;&gt;&gt;&lt;p(@id:132)&quot;&quot;&lt;f(@i:0)&quot;Keypad&quot;&gt;&lt;f(@i:1)&quot;32&quot;&gt;&gt;&lt;p(@id:133)&quot;&quot;&lt;f(@i:0)&quot;Keypad&quot;&gt;&lt;f(@i:1)&quot;33&quot;&gt;&gt;&lt;p(@id:134)&quot;&quot;&lt;f(@i:0)&quot;Keypad&quot;&gt;&lt;f(@i:1)&quot;34&quot;&gt;&gt;&lt;p(@id:135)&quot;&quot;&lt;f(@i:0)&quot;Keypad&quot;&gt;&lt;f(@i:1)&quot;35&quot;&gt;&gt;&lt;p(@id:136)&quot;&quot;&lt;f(@i:0)&quot;Keypad&quot;&gt;&lt;f(@i:1)&quot;36&quot;&gt;&gt;&lt;p(@id:137)&quot;&quot;&lt;f(@i:0)&quot;Keypad&quot;&gt;&lt;f(@i:1)&quot;37&quot;&gt;&gt;&lt;p(@id:138)&quot;&quot;&lt;f(@i:0)&quot;Keypad&quot;&gt;&lt;f(@i:1)&quot;38&quot;&gt;&gt;&lt;p(@id:139)&quot;&quot;&lt;f(@i:0)&quot;Keypad&quot;&gt;&lt;f(@i:1)&quot;39&quot;&gt;&gt;&lt;p(@id:140)&quot;&quot;&lt;f(@i:0)&quot;Keypad&quot;&gt;&lt;f(@i:1)&quot;40&quot;&gt;&gt;&lt;p(@id:141)&quot;&quot;&lt;f(@i:0)&quot;Keypad&quot;&gt;&lt;f(@i:1)&quot;41&quot;&gt;&gt;&lt;p(@id:142)&quot;&quot;&lt;f(@i:0)&quot;Keypad&quot;&gt;&lt;f(@i:1)&quot;42&quot;&gt;&gt;&lt;p(@id:143)&quot;&quot;&lt;f(@i:0)&quot;Keypad&quot;&gt;&lt;f(@i:1)&quot;43&quot;&gt;&gt;&lt;p(@id:144)&quot;&quot;&lt;f(@i:0)&quot;Keypad&quot;&gt;&lt;f(@i:1)&quot;44&quot;&gt;&gt;&lt;p(@id:145)&quot;&quot;&lt;f(@i:0)&quot;Keypad&quot;&gt;&lt;f(@i:1)&quot;45&quot;&gt;&gt;&lt;p(@id:146)&quot;&quot;&lt;f(@i:0)&quot;Keypad&quot;&gt;&lt;f(@i:1)&quot;46&quot;&gt;&gt;&lt;p(@id:147)&quot;&quot;&lt;f(@i:0)&quot;Keypad&quot;&gt;&lt;f(@i:1)&quot;47&quot;&gt;&gt;&lt;p(@id:148)&quot;&quot;&lt;f(@i:0)&quot;Keypad&quot;&gt;&lt;f(@i:1)&quot;48&quot;&gt;&gt;&lt;p(@id:149)&quot;&quot;&lt;f(@i:0)&quot;Keypad&quot;&gt;&lt;f(@i:1)&quot;49&quot;&gt;&gt;&lt;p(@id:150)&quot;&quot;&lt;f(@i:0)&quot;Keypad&quot;&gt;&lt;f(@i:1)&quot;50&quot;&gt;&gt;&lt;p(@id:151)&quot;&quot;&lt;f(@i:0)&quot;Keypad&quot;&gt;&lt;f(@i:1)&quot;51&quot;&gt;&gt;&lt;p(@id:152)&quot;&quot;&lt;f(@i:0)&quot;Keypad&quot;&gt;&lt;f(@i:1)&quot;52&quot;&gt;&gt;&lt;p(@id:153)&quot;&quot;&lt;f(@i:0)&quot;Keypad&quot;&gt;&lt;f(@i:1)&quot;53&quot;&gt;&gt;&lt;p(@id:154)&quot;&quot;&lt;f(@i:0)&quot;Keypad&quot;&gt;&lt;f(@i:1)&quot;54&quot;&gt;&gt;&lt;p(@id:155)&quot;&quot;&lt;f(@i:0)&quot;Keypad&quot;&gt;&lt;f(@i:1)&quot;55&quot;&gt;&gt;&lt;p(@id:156)&quot;&quot;&lt;f(@i:0)&quot;Keypad&quot;&gt;&lt;f(@i:1)&quot;56&quot;&gt;&gt;&lt;p(@id:157)&quot;&quot;&lt;f(@i:0)&quot;Keypad&quot;&gt;&lt;f(@i:1)&quot;57&quot;&gt;&gt;&lt;p(@id:158)&quot;&quot;&lt;f(@i:0)&quot;Keypad&quot;&gt;&lt;f(@i:1)&quot;58&quot;&gt;&gt;&lt;p(@id:159)&quot;&quot;&lt;f(@i:0)&quot;Keypad&quot;&gt;&lt;f(@i:1)&quot;59&quot;&gt;&gt;&lt;p(@id:160)&quot;&quot;&lt;f(@i:0)&quot;Keypad&quot;&gt;&lt;f(@i:1)&quot;60&quot;&gt;&gt;&lt;p(@id:161)&quot;&quot;&lt;f(@i:0)&quot;Keypad&quot;&gt;&lt;f(@i:1)&quot;61&quot;&gt;&gt;&lt;p(@id:162)&quot;&quot;&lt;f(@i:0)&quot;Keypad&quot;&gt;&lt;f(@i:1)&quot;62&quot;&gt;&gt;&lt;p(@id:163)&quot;&quot;&lt;f(@i:0)&quot;Keypad&quot;&gt;&lt;f(@i:1)&quot;63&quot;&gt;&gt;&lt;p(@id:164)&quot;&quot;&lt;f(@i:0)&quot;Keypad&quot;&gt;&lt;f(@i:1)&quot;64&quot;&gt;&gt;&lt;p(@id:165)&quot;&quot;&lt;f(@i:0)&quot;Keypad&quot;&gt;&lt;f(@i:1)&quot;65&quot;&gt;&gt;&lt;p(@id:166)&quot;&quot;&lt;f(@i:0)&quot;Keypad&quot;&gt;&lt;f(@i:1)&quot;66&quot;&gt;&gt;&lt;p(@id:167)&quot;&quot;&lt;f(@i:0)&quot;Keypad&quot;&gt;&lt;f(@i:1)&quot;67&quot;&gt;&gt;&lt;p(@id:168)&quot;&quot;&lt;f(@i:0)&quot;Keypad&quot;&gt;&lt;f(@i:1)&quot;68&quot;&gt;&gt;&lt;p(@id:169)&quot;&quot;&lt;f(@i:0)&quot;Keypad&quot;&gt;&lt;f(@i:1)&quot;69&quot;&gt;&gt;&lt;p(@id:170)&quot;&quot;&lt;f(@i:0)&quot;Keypad&quot;&gt;&lt;f(@i:1)&quot;70&quot;&gt;&gt;&lt;p(@id:171)&quot;&quot;&lt;f(@i:0)&quot;Keypad&quot;&gt;&lt;f(@i:1)&quot;71&quot;&gt;&gt;&lt;p(@id:172)&quot;&quot;&lt;f(@i:0)&quot;Keypad&quot;&gt;&lt;f(@i:1)&quot;72&quot;&gt;&gt;&lt;p(@id:173)&quot;&quot;&lt;f(@i:0)&quot;Keypad&quot;&gt;&lt;f(@i:1)&quot;73&quot;&gt;&gt;&lt;p(@id:174)&quot;&quot;&lt;f(@i:0)&quot;Keypad&quot;&gt;&lt;f(@i:1)&quot;74&quot;&gt;&gt;&lt;p(@id:175)&quot;&quot;&lt;f(@i:0)&quot;Keypad&quot;&gt;&lt;f(@i:1)&quot;75&quot;&gt;&gt;&lt;p(@id:176)&quot;&quot;&lt;f(@i:0)&quot;Keypad&quot;&gt;&lt;f(@i:1)&quot;76&quot;&gt;&gt;&lt;p(@id:177)&quot;&quot;&lt;f(@i:0)&quot;Keypad&quot;&gt;&lt;f(@i:1)&quot;77&quot;&gt;&gt;&lt;p(@id:178)&quot;&quot;&lt;f(@i:0)&quot;Keypad&quot;&gt;&lt;f(@i:1)&quot;78&quot;&gt;&gt;&lt;p(@id:179)&quot;&quot;&lt;f(@i:0)&quot;Keypad&quot;&gt;&lt;f(@i:1)&quot;79&quot;&gt;&gt;&lt;p(@id:180)&quot;&quot;&lt;f(@i:0)&quot;Keypad&quot;&gt;&lt;f(@i:1)&quot;80&quot;&gt;&gt;&lt;p(@id:181)&quot;&quot;&lt;f(@i:0)&quot;Keypad&quot;&gt;&lt;f(@i:1)&quot;81&quot;&gt;&gt;&lt;p(@id:182)&quot;&quot;&lt;f(@i:0)&quot;Keypad&quot;&gt;&lt;f(@i:1)&quot;82&quot;&gt;&gt;&lt;p(@id:183)&quot;&quot;&lt;f(@i:0)&quot;Keypad&quot;&gt;&lt;f(@i:1)&quot;83&quot;&gt;&gt;&lt;p(@id:184)&quot;&quot;&lt;f(@i:0)&quot;Keypad&quot;&gt;&lt;f(@i:1)&quot;84&quot;&gt;&gt;&lt;p(@id:185)&quot;&quot;&lt;f(@i:0)&quot;Keypad&quot;&gt;&lt;f(@i:1)&quot;85&quot;&gt;&gt;&lt;p(@id:186)&quot;&quot;&lt;f(@i:0)&quot;Keypad&quot;&gt;&lt;f(@i:1)&quot;86&quot;&gt;&gt;&lt;p(@id:187)&quot;&quot;&lt;f(@i:0)&quot;Keypad&quot;&gt;&lt;f(@i:1)&quot;87&quot;&gt;&gt;&lt;p(@id:188)&quot;&quot;&lt;f(@i:0)&quot;Keypad&quot;&gt;&lt;f(@i:1)&quot;88&quot;&gt;&gt;&lt;p(@id:189)&quot;&quot;&lt;f(@i:0)&quot;Keypad&quot;&gt;&lt;f(@i:1)&quot;89&quot;&gt;&gt;&lt;p(@id:190)&quot;&quot;&lt;f(@i:0)&quot;Keypad&quot;&gt;&lt;f(@i:1)&quot;90&quot;&gt;&gt;&lt;p(@id:191)&quot;&quot;&lt;f(@i:0)&quot;Keypad&quot;&gt;&lt;f(@i:1)&quot;91&quot;&gt;&gt;&lt;p(@id:192)&quot;&quot;&lt;f(@i:0)&quot;Keypad&quot;&gt;&lt;f(@i:1)&quot;92&quot;&gt;&gt;&lt;p(@id:193)&quot;&quot;&lt;f(@i:0)&quot;Keypad&quot;&gt;&lt;f(@i:1)&quot;93&quot;&gt;&gt;&lt;p(@id:194)&quot;&quot;&lt;f(@i:0)&quot;Keypad&quot;&gt;&lt;f(@i:1)&quot;94&quot;&gt;&gt;&lt;p(@id:195)&quot;&quot;&lt;f(@i:0)&quot;Keypad&quot;&gt;&lt;f(@i:1)&quot;95&quot;&gt;&gt;&lt;p(@id:196)&quot;&quot;&lt;f(@i:0)&quot;Keypad&quot;&gt;&lt;f(@i:1)&quot;96&quot;&gt;&gt;&lt;p(@id:197)&quot;&quot;&lt;f(@i:0)&quot;Keypad&quot;&gt;&lt;f(@i:1)&quot;97&quot;&gt;&gt;&lt;p(@id:198)&quot;&quot;&lt;f(@i:0)&quot;Keypad&quot;&gt;&lt;f(@i:1)&quot;98&quot;&gt;&gt;&lt;p(@id:199)&quot;&quot;&lt;f(@i:0)&quot;Keypad&quot;&gt;&lt;f(@i:1)&quot;99&quot;&gt;&gt;&lt;p(@id:200)&quot;&quot;&lt;f(@i:0)&quot;Keypad&quot;&gt;&lt;f(@i:1)&quot;100&quot;&gt;&gt;&gt;&lt;fields&quot;&quot;&lt;fld(@i:0)&quot;&quot;&lt;n&quot;First Name&quot;&gt;&gt;&lt;fld(@i:1)&quot;&quot;&lt;n&quot;Last Name&quot;&gt;&gt;&lt;fld(@i:2)&quot;&quot;&lt;n&quot;Entry Disabled&quot;&gt;&gt;&lt;fld(@i:3)&quot;&quot;&lt;n&quot;Participant Group&quot;&gt;&gt;&lt;fld(@i:4)&quot;&quot;&lt;n&quot;Team&quot;&gt;&gt;&lt;fld(@i:5)&quot;&quot;&lt;n&quot;Voting Weight&quot;&gt;&gt;&gt;&gt;&lt;chart&quot;&quot;&lt;styles&quot;&quot;&gt;&gt;&lt;teams&quot;&quot;&gt;&lt;transceivers&quot;&quot;&lt;t(@id:2@tt:ReplyPlus@n:Transceiver 2)&quot;&quot;&lt;f(@id:c)&quot;3&quot;&gt;&lt;f(@id:comType)&quot;Usb&quot;&gt;&lt;f(@id:com)&quot;[Auto]&quot;&gt;&lt;f(@id:kIdType)&quot;Static&quot;&gt;&lt;f(@id:ac)&quot;false&quot;&gt;&lt;f(@id:bl)&quot;Normal&quot;&gt;&lt;f(@id:dm)&quot;false&quot;&gt;&lt;f(@id:dp)&quot;false&quot;&gt;&lt;f(@id:kMin)&quot;1&quot;&gt;&lt;f(@id:kMax)&quot;250&quot;&gt;&lt;f(@id:pl)&quot;EuMax&quot;&gt;&lt;f(@id:rs)&quot;false&quot;&gt;&lt;f(@id:rr)&quot;false&quot;&gt;&lt;f(@id:sr)&quot;true&quot;&gt;&lt;f(@id:ss)&quot;true&quot;&gt;&lt;f(@id:wa)&quot;Off&quot;&gt;&gt;&gt;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CLOCKTEMPLATE" val="true"/>
  <p:tag name="KPISTOPSPOLLING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CLOCKTEMPLATE" val="true"/>
  <p:tag name="KPISTOPSPOLLING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CLOCKTEMPLATE" val="true"/>
  <p:tag name="KPISTOPSPOLLING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CLOCKTEMPLATE" val="true"/>
  <p:tag name="KPISTOPSPOLLING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6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lank Presentation">
  <a:themeElements>
    <a:clrScheme name="Blank Presentation 2">
      <a:dk1>
        <a:srgbClr val="000000"/>
      </a:dk1>
      <a:lt1>
        <a:srgbClr val="FFFFFF"/>
      </a:lt1>
      <a:dk2>
        <a:srgbClr val="0000FF"/>
      </a:dk2>
      <a:lt2>
        <a:srgbClr val="FFFF00"/>
      </a:lt2>
      <a:accent1>
        <a:srgbClr val="FF9900"/>
      </a:accent1>
      <a:accent2>
        <a:srgbClr val="00FFFF"/>
      </a:accent2>
      <a:accent3>
        <a:srgbClr val="AAAAFF"/>
      </a:accent3>
      <a:accent4>
        <a:srgbClr val="DADADA"/>
      </a:accent4>
      <a:accent5>
        <a:srgbClr val="FFCAAA"/>
      </a:accent5>
      <a:accent6>
        <a:srgbClr val="00E7E7"/>
      </a:accent6>
      <a:hlink>
        <a:srgbClr val="FF0000"/>
      </a:hlink>
      <a:folHlink>
        <a:srgbClr val="969696"/>
      </a:folHlink>
    </a:clrScheme>
    <a:fontScheme name="Blank Presentation">
      <a:majorFont>
        <a:latin typeface="Times"/>
        <a:ea typeface="ＭＳ Ｐゴシック"/>
        <a:cs typeface=""/>
      </a:majorFont>
      <a:minorFont>
        <a:latin typeface="Times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" b="0" i="0" u="none" strike="noStrike" cap="none" normalizeH="0" baseline="0">
            <a:ln>
              <a:noFill/>
            </a:ln>
            <a:solidFill>
              <a:srgbClr val="FFFFFF"/>
            </a:solidFill>
            <a:effectLst/>
            <a:latin typeface="Times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" b="0" i="0" u="none" strike="noStrike" cap="none" normalizeH="0" baseline="0">
            <a:ln>
              <a:noFill/>
            </a:ln>
            <a:solidFill>
              <a:srgbClr val="FFFFFF"/>
            </a:solidFill>
            <a:effectLst/>
            <a:latin typeface="Times" charset="0"/>
            <a:ea typeface="ＭＳ Ｐゴシック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5.xml><?xml version="1.0" encoding="utf-8"?>
<a:theme xmlns:a="http://schemas.openxmlformats.org/drawingml/2006/main" name="5_Office Theme">
  <a:themeElements>
    <a:clrScheme name="I7-53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21418"/>
      </a:accent1>
      <a:accent2>
        <a:srgbClr val="B5E1E1"/>
      </a:accent2>
      <a:accent3>
        <a:srgbClr val="A5A5A5"/>
      </a:accent3>
      <a:accent4>
        <a:srgbClr val="F57B20"/>
      </a:accent4>
      <a:accent5>
        <a:srgbClr val="0070C0"/>
      </a:accent5>
      <a:accent6>
        <a:srgbClr val="7DB7CD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2700">
          <a:solidFill>
            <a:srgbClr val="FF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2022_CCO_Template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CO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0">
          <a:solidFill>
            <a:schemeClr val="bg1"/>
          </a:solidFill>
          <a:miter lim="800000"/>
          <a:headEnd/>
          <a:tailEnd/>
        </a:ln>
      </a:spPr>
      <a:bodyPr anchor="b"/>
      <a:lstStyle>
        <a:defPPr algn="ctr" eaLnBrk="1" hangingPunct="1">
          <a:spcBef>
            <a:spcPct val="35000"/>
          </a:spcBef>
          <a:spcAft>
            <a:spcPct val="25000"/>
          </a:spcAft>
          <a:buClr>
            <a:schemeClr val="folHlink"/>
          </a:buClr>
          <a:buNone/>
          <a:defRPr sz="1800" b="0" dirty="0">
            <a:solidFill>
              <a:schemeClr val="tx1"/>
            </a:solidFill>
            <a:latin typeface="Calibri" panose="020F0502020204030204" pitchFamily="3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pitchFamily="3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7_HTAA_Diabetes" id="{1367EE62-49C0-41AA-9F7D-AEA8A8F73D1D}" vid="{45DB6FF6-6200-4F3D-90FC-F48B64252754}"/>
    </a:ext>
  </a:extLst>
</a:theme>
</file>

<file path=ppt/theme/theme7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GSK congress deck">
  <a:themeElements>
    <a:clrScheme name="Custom 8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00B8AD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>
          <a:noFill/>
          <a:headEnd/>
          <a:tailEnd/>
        </a:ln>
        <a:effectLst/>
      </a:spPr>
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5750" indent="-285750" algn="l" eaLnBrk="0" fontAlgn="auto" hangingPunct="0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kern="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0000" tIns="180000" rIns="180000" bIns="180000" rtlCol="0">
        <a:normAutofit/>
      </a:bodyPr>
      <a:lstStyle>
        <a:defPPr marL="285750" indent="-285750" algn="l">
          <a:spcBef>
            <a:spcPts val="300"/>
          </a:spcBef>
          <a:spcAft>
            <a:spcPts val="300"/>
          </a:spcAft>
          <a:buClr>
            <a:schemeClr val="tx2"/>
          </a:buClr>
          <a:buSzPct val="110000"/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SK PowerPoint altcolour deck template V1 03July23" id="{C3735198-22BE-45FC-B4BE-DB509B7CBF8C}" vid="{2723D19E-733B-4938-9E76-E418B32FFC82}"/>
    </a:ext>
  </a:extLst>
</a:theme>
</file>

<file path=ppt/theme/theme9.xml><?xml version="1.0" encoding="utf-8"?>
<a:theme xmlns:a="http://schemas.openxmlformats.org/drawingml/2006/main" name="5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862A45804C7345BFDE61DA2C172BE7" ma:contentTypeVersion="21" ma:contentTypeDescription="Create a new document." ma:contentTypeScope="" ma:versionID="500711ca9c67da191d2b15b5ca992245">
  <xsd:schema xmlns:xsd="http://www.w3.org/2001/XMLSchema" xmlns:xs="http://www.w3.org/2001/XMLSchema" xmlns:p="http://schemas.microsoft.com/office/2006/metadata/properties" xmlns:ns1="96f1686b-f877-4eb8-89ab-3a67a5dc2612" xmlns:ns3="b4104d5b-b872-4636-a728-507be7308f43" targetNamespace="http://schemas.microsoft.com/office/2006/metadata/properties" ma:root="true" ma:fieldsID="b508e5b81f94dd78c708f6de3fbd9d7e" ns1:_="" ns3:_="">
    <xsd:import namespace="96f1686b-f877-4eb8-89ab-3a67a5dc2612"/>
    <xsd:import namespace="b4104d5b-b872-4636-a728-507be7308f43"/>
    <xsd:element name="properties">
      <xsd:complexType>
        <xsd:sequence>
          <xsd:element name="documentManagement">
            <xsd:complexType>
              <xsd:all>
                <xsd:element ref="ns1:QID" minOccurs="0"/>
                <xsd:element ref="ns1:Status" minOccurs="0"/>
                <xsd:element ref="ns1:MediaServiceMetadata" minOccurs="0"/>
                <xsd:element ref="ns1:MediaServiceFastMetadata" minOccurs="0"/>
                <xsd:element ref="ns1:MediaServiceAutoTags" minOccurs="0"/>
                <xsd:element ref="ns1:MediaServiceOCR" minOccurs="0"/>
                <xsd:element ref="ns1:MediaServiceDateTaken" minOccurs="0"/>
                <xsd:element ref="ns1:MediaServiceLocation" minOccurs="0"/>
                <xsd:element ref="ns3:SharedWithUsers" minOccurs="0"/>
                <xsd:element ref="ns3:SharedWithDetails" minOccurs="0"/>
                <xsd:element ref="ns1:MediaServiceEventHashCode" minOccurs="0"/>
                <xsd:element ref="ns1:MediaServiceGenerationTime" minOccurs="0"/>
                <xsd:element ref="ns3:TaxKeywordTaxHTField" minOccurs="0"/>
                <xsd:element ref="ns3:TaxCatchAll" minOccurs="0"/>
                <xsd:element ref="ns1:MediaServiceAutoKeyPoints" minOccurs="0"/>
                <xsd:element ref="ns1:MediaServiceKeyPoints" minOccurs="0"/>
                <xsd:element ref="ns1:lcf76f155ced4ddcb4097134ff3c332f" minOccurs="0"/>
                <xsd:element ref="ns1:MediaServiceObjectDetectorVersions" minOccurs="0"/>
                <xsd:element ref="ns1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f1686b-f877-4eb8-89ab-3a67a5dc2612" elementFormDefault="qualified">
    <xsd:import namespace="http://schemas.microsoft.com/office/2006/documentManagement/types"/>
    <xsd:import namespace="http://schemas.microsoft.com/office/infopath/2007/PartnerControls"/>
    <xsd:element name="QID" ma:index="0" nillable="true" ma:displayName="QID" ma:indexed="true" ma:internalName="QID">
      <xsd:simpleType>
        <xsd:restriction base="dms:Number"/>
      </xsd:simpleType>
    </xsd:element>
    <xsd:element name="Status" ma:index="3" nillable="true" ma:displayName="Status" ma:format="Dropdown" ma:internalName="Status">
      <xsd:simpleType>
        <xsd:restriction base="dms:Choice">
          <xsd:enumeration value="Not started"/>
          <xsd:enumeration value="Web Build"/>
          <xsd:enumeration value="In Progress"/>
          <xsd:enumeration value="Launched"/>
          <xsd:enumeration value="Complete"/>
          <xsd:enumeration value="Delayed"/>
        </xsd:restriction>
      </xsd:simpleType>
    </xsd:element>
    <xsd:element name="MediaServiceMetadata" ma:index="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8" nillable="true" ma:displayName="MediaServiceAutoTags" ma:internalName="MediaServiceAutoTags" ma:readOnly="true">
      <xsd:simpleType>
        <xsd:restriction base="dms:Text"/>
      </xsd:simpleType>
    </xsd:element>
    <xsd:element name="MediaServiceOCR" ma:index="9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4c811d1f-5e4a-4ee3-9cfd-88a4fb073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04d5b-b872-4636-a728-507be7308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21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2" nillable="true" ma:displayName="Taxonomy Catch All Column" ma:hidden="true" ma:list="{d75259b8-d078-43ce-9531-d35c0553c861}" ma:internalName="TaxCatchAll" ma:showField="CatchAllData" ma:web="b4104d5b-b872-4636-a728-507be7308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Content Typ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96f1686b-f877-4eb8-89ab-3a67a5dc2612" xsi:nil="true"/>
    <TaxCatchAll xmlns="b4104d5b-b872-4636-a728-507be7308f43" xsi:nil="true"/>
    <QID xmlns="96f1686b-f877-4eb8-89ab-3a67a5dc2612" xsi:nil="true"/>
    <lcf76f155ced4ddcb4097134ff3c332f xmlns="96f1686b-f877-4eb8-89ab-3a67a5dc2612">
      <Terms xmlns="http://schemas.microsoft.com/office/infopath/2007/PartnerControls"/>
    </lcf76f155ced4ddcb4097134ff3c332f>
    <TaxKeywordTaxHTField xmlns="b4104d5b-b872-4636-a728-507be7308f43">
      <Terms xmlns="http://schemas.microsoft.com/office/infopath/2007/PartnerControls"/>
    </TaxKeywordTaxHTField>
  </documentManagement>
</p:properties>
</file>

<file path=customXml/itemProps1.xml><?xml version="1.0" encoding="utf-8"?>
<ds:datastoreItem xmlns:ds="http://schemas.openxmlformats.org/officeDocument/2006/customXml" ds:itemID="{81AE6668-8943-4914-9709-10B86E4DBAA2}"/>
</file>

<file path=customXml/itemProps2.xml><?xml version="1.0" encoding="utf-8"?>
<ds:datastoreItem xmlns:ds="http://schemas.openxmlformats.org/officeDocument/2006/customXml" ds:itemID="{89E3F69A-9779-46B5-A2BD-8BAD356A0A19}"/>
</file>

<file path=customXml/itemProps3.xml><?xml version="1.0" encoding="utf-8"?>
<ds:datastoreItem xmlns:ds="http://schemas.openxmlformats.org/officeDocument/2006/customXml" ds:itemID="{28E6407E-D4C5-40C6-80C8-DAF7224D3E83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695</TotalTime>
  <Words>8530</Words>
  <Application>Microsoft Macintosh PowerPoint</Application>
  <PresentationFormat>Widescreen</PresentationFormat>
  <Paragraphs>1452</Paragraphs>
  <Slides>73</Slides>
  <Notes>36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3</vt:i4>
      </vt:variant>
    </vt:vector>
  </HeadingPairs>
  <TitlesOfParts>
    <vt:vector size="101" baseType="lpstr">
      <vt:lpstr>ＭＳ Ｐゴシック</vt:lpstr>
      <vt:lpstr>Aptos</vt:lpstr>
      <vt:lpstr>Aptos Display</vt:lpstr>
      <vt:lpstr>Arial</vt:lpstr>
      <vt:lpstr>Calibri</vt:lpstr>
      <vt:lpstr>Courier New</vt:lpstr>
      <vt:lpstr>DIN</vt:lpstr>
      <vt:lpstr>Franklin Gothic Book</vt:lpstr>
      <vt:lpstr>Jost Light</vt:lpstr>
      <vt:lpstr>Segoe UI</vt:lpstr>
      <vt:lpstr>Slack-Lato</vt:lpstr>
      <vt:lpstr>Symbol</vt:lpstr>
      <vt:lpstr>Times</vt:lpstr>
      <vt:lpstr>Times New Roman</vt:lpstr>
      <vt:lpstr>Trebuchet MS</vt:lpstr>
      <vt:lpstr>Verdana</vt:lpstr>
      <vt:lpstr>Webdings</vt:lpstr>
      <vt:lpstr>Wingdings</vt:lpstr>
      <vt:lpstr>3_Default Design</vt:lpstr>
      <vt:lpstr>6_Default Design</vt:lpstr>
      <vt:lpstr>Blank Presentation</vt:lpstr>
      <vt:lpstr>Θέμα του Office</vt:lpstr>
      <vt:lpstr>5_Office Theme</vt:lpstr>
      <vt:lpstr>5_2022_CCO_Template</vt:lpstr>
      <vt:lpstr>3_Office Theme</vt:lpstr>
      <vt:lpstr>GSK congress deck</vt:lpstr>
      <vt:lpstr>5_Default Design</vt:lpstr>
      <vt:lpstr>think-cell Slide</vt:lpstr>
      <vt:lpstr>PowerPoint Presentation</vt:lpstr>
      <vt:lpstr>Faculty</vt:lpstr>
      <vt:lpstr>Commercial Support</vt:lpstr>
      <vt:lpstr>Prof Dimopoulos — Disclosures</vt:lpstr>
      <vt:lpstr>Dr Orlowski — Disclosur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GENDA  Year in Review: Management of Multiple Myeloma</vt:lpstr>
      <vt:lpstr>AGENDA  Year in Review: Management of Multiple Myelom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GENDA  Year in Review: Management of Multiple Myeloma</vt:lpstr>
      <vt:lpstr>Dara in Smoldering: Design &amp; Outcomes</vt:lpstr>
      <vt:lpstr>Value of MRD 1 Year Post-ASCT</vt:lpstr>
      <vt:lpstr>Anti-CD38 Antibody First-Line Indications</vt:lpstr>
      <vt:lpstr>New Isatuximab Subcutaneous Formulation Met Coprimary Endpoints in the IRAKLIA Phase III Study in Multiple Myeloma Press Release: January 9, 2025</vt:lpstr>
      <vt:lpstr>Subcutaneous Isatuximab Administration</vt:lpstr>
      <vt:lpstr>Neil’s Top 20 Ques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GENDA  Year in Review: Management of Multiple Myeloma</vt:lpstr>
      <vt:lpstr>DREAMM-8 Study: BelaPd vs PVd – Study Design</vt:lpstr>
      <vt:lpstr>PowerPoint Presentation</vt:lpstr>
      <vt:lpstr>PowerPoint Presentation</vt:lpstr>
      <vt:lpstr>DREAMM-7: Bela-Vd vs Dara-Vd – Study Design</vt:lpstr>
      <vt:lpstr>DREAMM-7 study – Patients Characteristics</vt:lpstr>
      <vt:lpstr>DREAMM-7 study – PFS</vt:lpstr>
      <vt:lpstr>Updated and Additional Analyses From the Phase 3 DREAMM-7 Trial of BVd vs DVd in RRMM: OS</vt:lpstr>
      <vt:lpstr>DREAMM-9: Study design</vt:lpstr>
      <vt:lpstr>DREAMM-9: Efficacy | ORR</vt:lpstr>
      <vt:lpstr>DREAMM-9: Efficacy | MRD-negativity rate*</vt:lpstr>
      <vt:lpstr>DREAMM-9: Best corrected visual acuity</vt:lpstr>
      <vt:lpstr>PowerPoint Presentation</vt:lpstr>
      <vt:lpstr>PowerPoint Presentation</vt:lpstr>
      <vt:lpstr>PowerPoint Presentation</vt:lpstr>
      <vt:lpstr>PowerPoint Presentation</vt:lpstr>
      <vt:lpstr>DREAMM-10 Trial: Phase III Study of Belantamab Mafodotin with Lenalidomide and Dexamethasone (BRd) versus Daratumumab with Lenalidomide and Dexamethasone (DRd) in Transplant-Ineligible Newly Diagnosed MM</vt:lpstr>
      <vt:lpstr>PowerPoint Presentation</vt:lpstr>
      <vt:lpstr>AGENDA  Year in Review: Management of Multiple Myeloma</vt:lpstr>
      <vt:lpstr>Phase 2 iMMagine-1: Anito-cel - Preliminary efficacy data for an anti-BCMA CAR T-cell therapy in RRMM </vt:lpstr>
      <vt:lpstr>Phase 2 iMMagine-1: Anito-cel - Preliminary Safety Data in RRMM </vt:lpstr>
      <vt:lpstr>Phase I Trial of MCARH109, a GPRC5D-Targeted Chimeric Antigen Receptor T-Cell Therapy for RR Multiple Myeloma</vt:lpstr>
      <vt:lpstr>Phase I Trial of MCARH109 in RRMM: Efficacy Data</vt:lpstr>
      <vt:lpstr>PowerPoint Presentation</vt:lpstr>
      <vt:lpstr>PowerPoint Presentation</vt:lpstr>
      <vt:lpstr>PowerPoint Presentation</vt:lpstr>
      <vt:lpstr>AGENDA  Year in Review: Management of Multiple Myeloma</vt:lpstr>
      <vt:lpstr>Phase Ib/II RedirecTT-1 Study: Teclistamab Plus Talquetamab in R/R Multiple Myeloma</vt:lpstr>
      <vt:lpstr>Phase Ib/II RedirectTT-1 Study: Teclistamab Plus Talquetamab in R/R Multiple Myeloma – DoR and PFS</vt:lpstr>
      <vt:lpstr>Phase Ib/II RedirectTT-1 Study: Teclistamab Plus Talquetamab in R/R Multiple Myeloma – Safety</vt:lpstr>
      <vt:lpstr>LINKER-MM1 Update: Linvoseltamab in RRMM - Study Design</vt:lpstr>
      <vt:lpstr>LINKER-MM1 Update: Efficac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GENDA  Year in Review: Management of Multiple Myeloma</vt:lpstr>
      <vt:lpstr>CC-92480-MM-02: MeziKd or MeziVd</vt:lpstr>
      <vt:lpstr>MeziKd or MeziVd: Efficacy &amp; Safet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ear In Review Prostate Cancer  Wednesday, November 18, 2020 2:00 PM – 3:30 PM ET</dc:title>
  <dc:creator>Rick Kaderman</dc:creator>
  <cp:lastModifiedBy>Silvana Izquierdo</cp:lastModifiedBy>
  <cp:revision>1741</cp:revision>
  <cp:lastPrinted>2020-12-08T02:40:56Z</cp:lastPrinted>
  <dcterms:created xsi:type="dcterms:W3CDTF">2020-11-13T19:02:13Z</dcterms:created>
  <dcterms:modified xsi:type="dcterms:W3CDTF">2025-05-12T13:53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862A45804C7345BFDE61DA2C172BE7</vt:lpwstr>
  </property>
</Properties>
</file>